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79" r:id="rId3"/>
    <p:sldMasterId id="2147483701" r:id="rId4"/>
  </p:sldMasterIdLst>
  <p:notesMasterIdLst>
    <p:notesMasterId r:id="rId25"/>
  </p:notesMasterIdLst>
  <p:handoutMasterIdLst>
    <p:handoutMasterId r:id="rId26"/>
  </p:handoutMasterIdLst>
  <p:sldIdLst>
    <p:sldId id="258" r:id="rId5"/>
    <p:sldId id="304" r:id="rId6"/>
    <p:sldId id="259" r:id="rId7"/>
    <p:sldId id="2665" r:id="rId8"/>
    <p:sldId id="605" r:id="rId9"/>
    <p:sldId id="2906" r:id="rId10"/>
    <p:sldId id="299" r:id="rId11"/>
    <p:sldId id="2907" r:id="rId12"/>
    <p:sldId id="2663" r:id="rId13"/>
    <p:sldId id="300" r:id="rId14"/>
    <p:sldId id="260" r:id="rId15"/>
    <p:sldId id="516" r:id="rId16"/>
    <p:sldId id="517" r:id="rId17"/>
    <p:sldId id="515" r:id="rId18"/>
    <p:sldId id="293" r:id="rId19"/>
    <p:sldId id="323" r:id="rId20"/>
    <p:sldId id="2702" r:id="rId21"/>
    <p:sldId id="335" r:id="rId22"/>
    <p:sldId id="2696" r:id="rId23"/>
    <p:sldId id="298" r:id="rId24"/>
  </p:sldIdLst>
  <p:sldSz cx="9144000" cy="6858000" type="screen4x3"/>
  <p:notesSz cx="9601200" cy="73152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6pPr>
    <a:lvl7pPr marL="27432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7pPr>
    <a:lvl8pPr marL="32004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8pPr>
    <a:lvl9pPr marL="36576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04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BC6"/>
    <a:srgbClr val="692AA2"/>
    <a:srgbClr val="006600"/>
    <a:srgbClr val="33CC33"/>
    <a:srgbClr val="B9D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C71DC1-CC08-4296-900B-C79FEBF10E33}" v="19" dt="2024-09-11T05:27:59.445"/>
    <p1510:client id="{22EE7982-4651-4C2E-898E-ACC78949D36C}" v="1" dt="2024-09-11T20:37:09.3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568" autoAdjust="0"/>
  </p:normalViewPr>
  <p:slideViewPr>
    <p:cSldViewPr>
      <p:cViewPr varScale="1">
        <p:scale>
          <a:sx n="85" d="100"/>
          <a:sy n="85" d="100"/>
        </p:scale>
        <p:origin x="1334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670"/>
    </p:cViewPr>
  </p:sorterViewPr>
  <p:notesViewPr>
    <p:cSldViewPr>
      <p:cViewPr varScale="1">
        <p:scale>
          <a:sx n="53" d="100"/>
          <a:sy n="53" d="100"/>
        </p:scale>
        <p:origin x="-1842" y="-96"/>
      </p:cViewPr>
      <p:guideLst>
        <p:guide orient="horz" pos="2304"/>
        <p:guide pos="30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ufik Edy Sutanto, M.Sc.Tech.,Ph.D" userId="012573cc-7230-4d80-9d32-62cda141001e" providerId="ADAL" clId="{19C71DC1-CC08-4296-900B-C79FEBF10E33}"/>
    <pc:docChg chg="undo custSel addSld delSld modSld delMainMaster">
      <pc:chgData name="Taufik Edy Sutanto, M.Sc.Tech.,Ph.D" userId="012573cc-7230-4d80-9d32-62cda141001e" providerId="ADAL" clId="{19C71DC1-CC08-4296-900B-C79FEBF10E33}" dt="2024-09-11T05:28:10.219" v="258" actId="14100"/>
      <pc:docMkLst>
        <pc:docMk/>
      </pc:docMkLst>
      <pc:sldChg chg="addSp modSp mod">
        <pc:chgData name="Taufik Edy Sutanto, M.Sc.Tech.,Ph.D" userId="012573cc-7230-4d80-9d32-62cda141001e" providerId="ADAL" clId="{19C71DC1-CC08-4296-900B-C79FEBF10E33}" dt="2024-09-05T01:23:31.264" v="58" actId="113"/>
        <pc:sldMkLst>
          <pc:docMk/>
          <pc:sldMk cId="0" sldId="258"/>
        </pc:sldMkLst>
        <pc:spChg chg="mod">
          <ac:chgData name="Taufik Edy Sutanto, M.Sc.Tech.,Ph.D" userId="012573cc-7230-4d80-9d32-62cda141001e" providerId="ADAL" clId="{19C71DC1-CC08-4296-900B-C79FEBF10E33}" dt="2024-09-05T01:23:31.264" v="58" actId="113"/>
          <ac:spMkLst>
            <pc:docMk/>
            <pc:sldMk cId="0" sldId="258"/>
            <ac:spMk id="155650" creationId="{00000000-0000-0000-0000-000000000000}"/>
          </ac:spMkLst>
        </pc:spChg>
        <pc:picChg chg="add mod">
          <ac:chgData name="Taufik Edy Sutanto, M.Sc.Tech.,Ph.D" userId="012573cc-7230-4d80-9d32-62cda141001e" providerId="ADAL" clId="{19C71DC1-CC08-4296-900B-C79FEBF10E33}" dt="2024-09-05T01:23:10.561" v="55" actId="1076"/>
          <ac:picMkLst>
            <pc:docMk/>
            <pc:sldMk cId="0" sldId="258"/>
            <ac:picMk id="8" creationId="{8B3930B8-0C0A-FC7D-B927-1B61DC6FBB9D}"/>
          </ac:picMkLst>
        </pc:picChg>
        <pc:picChg chg="mod">
          <ac:chgData name="Taufik Edy Sutanto, M.Sc.Tech.,Ph.D" userId="012573cc-7230-4d80-9d32-62cda141001e" providerId="ADAL" clId="{19C71DC1-CC08-4296-900B-C79FEBF10E33}" dt="2024-09-05T01:22:37.222" v="48" actId="1076"/>
          <ac:picMkLst>
            <pc:docMk/>
            <pc:sldMk cId="0" sldId="258"/>
            <ac:picMk id="10" creationId="{F0616A53-D93D-4477-8D9B-F51051A861F3}"/>
          </ac:picMkLst>
        </pc:picChg>
        <pc:picChg chg="mod">
          <ac:chgData name="Taufik Edy Sutanto, M.Sc.Tech.,Ph.D" userId="012573cc-7230-4d80-9d32-62cda141001e" providerId="ADAL" clId="{19C71DC1-CC08-4296-900B-C79FEBF10E33}" dt="2024-09-05T01:23:13.103" v="56" actId="1076"/>
          <ac:picMkLst>
            <pc:docMk/>
            <pc:sldMk cId="0" sldId="258"/>
            <ac:picMk id="13" creationId="{A22BDC5E-C461-4D88-81E5-EA44CF233786}"/>
          </ac:picMkLst>
        </pc:picChg>
      </pc:sldChg>
      <pc:sldChg chg="modSp mod">
        <pc:chgData name="Taufik Edy Sutanto, M.Sc.Tech.,Ph.D" userId="012573cc-7230-4d80-9d32-62cda141001e" providerId="ADAL" clId="{19C71DC1-CC08-4296-900B-C79FEBF10E33}" dt="2024-09-05T01:23:49.159" v="68" actId="20577"/>
        <pc:sldMkLst>
          <pc:docMk/>
          <pc:sldMk cId="0" sldId="259"/>
        </pc:sldMkLst>
        <pc:spChg chg="mod">
          <ac:chgData name="Taufik Edy Sutanto, M.Sc.Tech.,Ph.D" userId="012573cc-7230-4d80-9d32-62cda141001e" providerId="ADAL" clId="{19C71DC1-CC08-4296-900B-C79FEBF10E33}" dt="2024-09-05T01:23:49.159" v="68" actId="20577"/>
          <ac:spMkLst>
            <pc:docMk/>
            <pc:sldMk cId="0" sldId="259"/>
            <ac:spMk id="11" creationId="{00000000-0000-0000-0000-000000000000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31:56.971" v="235" actId="20577"/>
        <pc:sldMkLst>
          <pc:docMk/>
          <pc:sldMk cId="0" sldId="293"/>
        </pc:sldMkLst>
        <pc:spChg chg="mod">
          <ac:chgData name="Taufik Edy Sutanto, M.Sc.Tech.,Ph.D" userId="012573cc-7230-4d80-9d32-62cda141001e" providerId="ADAL" clId="{19C71DC1-CC08-4296-900B-C79FEBF10E33}" dt="2024-09-05T01:31:56.971" v="235" actId="20577"/>
          <ac:spMkLst>
            <pc:docMk/>
            <pc:sldMk cId="0" sldId="293"/>
            <ac:spMk id="4" creationId="{00000000-0000-0000-0000-000000000000}"/>
          </ac:spMkLst>
        </pc:spChg>
      </pc:sldChg>
      <pc:sldChg chg="addSp delSp modSp mod">
        <pc:chgData name="Taufik Edy Sutanto, M.Sc.Tech.,Ph.D" userId="012573cc-7230-4d80-9d32-62cda141001e" providerId="ADAL" clId="{19C71DC1-CC08-4296-900B-C79FEBF10E33}" dt="2024-09-05T01:31:00.244" v="217" actId="1076"/>
        <pc:sldMkLst>
          <pc:docMk/>
          <pc:sldMk cId="805183238" sldId="298"/>
        </pc:sldMkLst>
        <pc:spChg chg="mod">
          <ac:chgData name="Taufik Edy Sutanto, M.Sc.Tech.,Ph.D" userId="012573cc-7230-4d80-9d32-62cda141001e" providerId="ADAL" clId="{19C71DC1-CC08-4296-900B-C79FEBF10E33}" dt="2024-09-05T01:30:47.845" v="215" actId="207"/>
          <ac:spMkLst>
            <pc:docMk/>
            <pc:sldMk cId="805183238" sldId="298"/>
            <ac:spMk id="155650" creationId="{00000000-0000-0000-0000-000000000000}"/>
          </ac:spMkLst>
        </pc:spChg>
        <pc:picChg chg="add mod">
          <ac:chgData name="Taufik Edy Sutanto, M.Sc.Tech.,Ph.D" userId="012573cc-7230-4d80-9d32-62cda141001e" providerId="ADAL" clId="{19C71DC1-CC08-4296-900B-C79FEBF10E33}" dt="2024-09-05T01:31:00.244" v="217" actId="1076"/>
          <ac:picMkLst>
            <pc:docMk/>
            <pc:sldMk cId="805183238" sldId="298"/>
            <ac:picMk id="2" creationId="{A9006098-17A3-91CA-E023-B5BB3A164D1F}"/>
          </ac:picMkLst>
        </pc:picChg>
        <pc:picChg chg="del">
          <ac:chgData name="Taufik Edy Sutanto, M.Sc.Tech.,Ph.D" userId="012573cc-7230-4d80-9d32-62cda141001e" providerId="ADAL" clId="{19C71DC1-CC08-4296-900B-C79FEBF10E33}" dt="2024-09-05T01:30:29.319" v="194" actId="478"/>
          <ac:picMkLst>
            <pc:docMk/>
            <pc:sldMk cId="805183238" sldId="298"/>
            <ac:picMk id="11" creationId="{1EC419C5-7A0A-4F5F-B8BF-1B256370A1ED}"/>
          </ac:picMkLst>
        </pc:picChg>
        <pc:picChg chg="mod">
          <ac:chgData name="Taufik Edy Sutanto, M.Sc.Tech.,Ph.D" userId="012573cc-7230-4d80-9d32-62cda141001e" providerId="ADAL" clId="{19C71DC1-CC08-4296-900B-C79FEBF10E33}" dt="2024-09-05T01:30:31.682" v="195" actId="1076"/>
          <ac:picMkLst>
            <pc:docMk/>
            <pc:sldMk cId="805183238" sldId="298"/>
            <ac:picMk id="12" creationId="{E17B7D41-9BB0-4994-82B0-C76E4CDD3FCD}"/>
          </ac:picMkLst>
        </pc:picChg>
      </pc:sldChg>
      <pc:sldChg chg="modSp mod">
        <pc:chgData name="Taufik Edy Sutanto, M.Sc.Tech.,Ph.D" userId="012573cc-7230-4d80-9d32-62cda141001e" providerId="ADAL" clId="{19C71DC1-CC08-4296-900B-C79FEBF10E33}" dt="2024-09-05T01:28:48.187" v="156" actId="114"/>
        <pc:sldMkLst>
          <pc:docMk/>
          <pc:sldMk cId="724966929" sldId="299"/>
        </pc:sldMkLst>
        <pc:spChg chg="mod">
          <ac:chgData name="Taufik Edy Sutanto, M.Sc.Tech.,Ph.D" userId="012573cc-7230-4d80-9d32-62cda141001e" providerId="ADAL" clId="{19C71DC1-CC08-4296-900B-C79FEBF10E33}" dt="2024-09-05T01:27:34.601" v="141" actId="20577"/>
          <ac:spMkLst>
            <pc:docMk/>
            <pc:sldMk cId="724966929" sldId="299"/>
            <ac:spMk id="2" creationId="{94578059-E94D-4D7A-B043-3EBFB7C86FB8}"/>
          </ac:spMkLst>
        </pc:spChg>
        <pc:spChg chg="mod">
          <ac:chgData name="Taufik Edy Sutanto, M.Sc.Tech.,Ph.D" userId="012573cc-7230-4d80-9d32-62cda141001e" providerId="ADAL" clId="{19C71DC1-CC08-4296-900B-C79FEBF10E33}" dt="2024-09-05T01:28:48.187" v="156" actId="114"/>
          <ac:spMkLst>
            <pc:docMk/>
            <pc:sldMk cId="724966929" sldId="299"/>
            <ac:spMk id="6" creationId="{088AD41C-4131-47CB-A996-1D9474D3B2BD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23:42.527" v="60" actId="27636"/>
        <pc:sldMkLst>
          <pc:docMk/>
          <pc:sldMk cId="2530550081" sldId="304"/>
        </pc:sldMkLst>
        <pc:spChg chg="mod">
          <ac:chgData name="Taufik Edy Sutanto, M.Sc.Tech.,Ph.D" userId="012573cc-7230-4d80-9d32-62cda141001e" providerId="ADAL" clId="{19C71DC1-CC08-4296-900B-C79FEBF10E33}" dt="2024-09-05T01:23:42.527" v="60" actId="27636"/>
          <ac:spMkLst>
            <pc:docMk/>
            <pc:sldMk cId="2530550081" sldId="304"/>
            <ac:spMk id="5122" creationId="{00000000-0000-0000-0000-000000000000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586269248" sldId="31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434722391" sldId="314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48724029" sldId="315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759109693" sldId="31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850789166" sldId="321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719130707" sldId="322"/>
        </pc:sldMkLst>
      </pc:sldChg>
      <pc:sldChg chg="modSp mod">
        <pc:chgData name="Taufik Edy Sutanto, M.Sc.Tech.,Ph.D" userId="012573cc-7230-4d80-9d32-62cda141001e" providerId="ADAL" clId="{19C71DC1-CC08-4296-900B-C79FEBF10E33}" dt="2024-09-05T01:30:02.970" v="192" actId="20577"/>
        <pc:sldMkLst>
          <pc:docMk/>
          <pc:sldMk cId="4150803697" sldId="323"/>
        </pc:sldMkLst>
        <pc:spChg chg="mod">
          <ac:chgData name="Taufik Edy Sutanto, M.Sc.Tech.,Ph.D" userId="012573cc-7230-4d80-9d32-62cda141001e" providerId="ADAL" clId="{19C71DC1-CC08-4296-900B-C79FEBF10E33}" dt="2024-09-05T01:30:02.970" v="192" actId="20577"/>
          <ac:spMkLst>
            <pc:docMk/>
            <pc:sldMk cId="4150803697" sldId="323"/>
            <ac:spMk id="5122" creationId="{00000000-0000-0000-0000-000000000000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122352743" sldId="324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968756924" sldId="326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54192530" sldId="32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4082411400" sldId="328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59497433" sldId="331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795191108" sldId="332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760342690" sldId="33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43759464" sldId="339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79506650" sldId="340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210087412" sldId="518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4284345403" sldId="520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05729716" sldId="523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317345335" sldId="570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2823031814" sldId="576"/>
        </pc:sldMkLst>
      </pc:sldChg>
      <pc:sldChg chg="addSp modSp mod">
        <pc:chgData name="Taufik Edy Sutanto, M.Sc.Tech.,Ph.D" userId="012573cc-7230-4d80-9d32-62cda141001e" providerId="ADAL" clId="{19C71DC1-CC08-4296-900B-C79FEBF10E33}" dt="2024-09-05T01:27:12.252" v="104" actId="20577"/>
        <pc:sldMkLst>
          <pc:docMk/>
          <pc:sldMk cId="1771271350" sldId="605"/>
        </pc:sldMkLst>
        <pc:spChg chg="add">
          <ac:chgData name="Taufik Edy Sutanto, M.Sc.Tech.,Ph.D" userId="012573cc-7230-4d80-9d32-62cda141001e" providerId="ADAL" clId="{19C71DC1-CC08-4296-900B-C79FEBF10E33}" dt="2024-09-05T01:26:52.250" v="88"/>
          <ac:spMkLst>
            <pc:docMk/>
            <pc:sldMk cId="1771271350" sldId="605"/>
            <ac:spMk id="2" creationId="{F4F0DD9C-C7A9-1D15-0095-329ACAB4EFD6}"/>
          </ac:spMkLst>
        </pc:spChg>
        <pc:spChg chg="mod">
          <ac:chgData name="Taufik Edy Sutanto, M.Sc.Tech.,Ph.D" userId="012573cc-7230-4d80-9d32-62cda141001e" providerId="ADAL" clId="{19C71DC1-CC08-4296-900B-C79FEBF10E33}" dt="2024-09-05T01:26:39.075" v="87" actId="20577"/>
          <ac:spMkLst>
            <pc:docMk/>
            <pc:sldMk cId="1771271350" sldId="605"/>
            <ac:spMk id="6" creationId="{10CCBA7A-1C3C-42FB-8E3F-E380B0472073}"/>
          </ac:spMkLst>
        </pc:spChg>
        <pc:spChg chg="mod">
          <ac:chgData name="Taufik Edy Sutanto, M.Sc.Tech.,Ph.D" userId="012573cc-7230-4d80-9d32-62cda141001e" providerId="ADAL" clId="{19C71DC1-CC08-4296-900B-C79FEBF10E33}" dt="2024-09-05T01:27:12.252" v="104" actId="20577"/>
          <ac:spMkLst>
            <pc:docMk/>
            <pc:sldMk cId="1771271350" sldId="605"/>
            <ac:spMk id="14" creationId="{F5C02F18-CCBD-40FD-B656-E8078877878F}"/>
          </ac:spMkLst>
        </pc:spChg>
      </pc:sldChg>
      <pc:sldChg chg="add del mod modShow">
        <pc:chgData name="Taufik Edy Sutanto, M.Sc.Tech.,Ph.D" userId="012573cc-7230-4d80-9d32-62cda141001e" providerId="ADAL" clId="{19C71DC1-CC08-4296-900B-C79FEBF10E33}" dt="2024-09-11T04:20:46.690" v="241"/>
        <pc:sldMkLst>
          <pc:docMk/>
          <pc:sldMk cId="659254250" sldId="2661"/>
        </pc:sldMkLst>
      </pc:sldChg>
      <pc:sldChg chg="modSp mod">
        <pc:chgData name="Taufik Edy Sutanto, M.Sc.Tech.,Ph.D" userId="012573cc-7230-4d80-9d32-62cda141001e" providerId="ADAL" clId="{19C71DC1-CC08-4296-900B-C79FEBF10E33}" dt="2024-09-05T01:28:56.215" v="165" actId="20577"/>
        <pc:sldMkLst>
          <pc:docMk/>
          <pc:sldMk cId="2987923351" sldId="2663"/>
        </pc:sldMkLst>
        <pc:spChg chg="mod">
          <ac:chgData name="Taufik Edy Sutanto, M.Sc.Tech.,Ph.D" userId="012573cc-7230-4d80-9d32-62cda141001e" providerId="ADAL" clId="{19C71DC1-CC08-4296-900B-C79FEBF10E33}" dt="2024-09-05T01:28:56.215" v="165" actId="20577"/>
          <ac:spMkLst>
            <pc:docMk/>
            <pc:sldMk cId="2987923351" sldId="2663"/>
            <ac:spMk id="3" creationId="{00000000-0000-0000-0000-000000000000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25:29.694" v="73" actId="20577"/>
        <pc:sldMkLst>
          <pc:docMk/>
          <pc:sldMk cId="3092648446" sldId="2665"/>
        </pc:sldMkLst>
        <pc:spChg chg="mod">
          <ac:chgData name="Taufik Edy Sutanto, M.Sc.Tech.,Ph.D" userId="012573cc-7230-4d80-9d32-62cda141001e" providerId="ADAL" clId="{19C71DC1-CC08-4296-900B-C79FEBF10E33}" dt="2024-09-05T01:24:57.036" v="69"/>
          <ac:spMkLst>
            <pc:docMk/>
            <pc:sldMk cId="3092648446" sldId="2665"/>
            <ac:spMk id="110597" creationId="{A2AFDC8D-5717-4952-99D6-39C2AAA79586}"/>
          </ac:spMkLst>
        </pc:spChg>
        <pc:spChg chg="mod">
          <ac:chgData name="Taufik Edy Sutanto, M.Sc.Tech.,Ph.D" userId="012573cc-7230-4d80-9d32-62cda141001e" providerId="ADAL" clId="{19C71DC1-CC08-4296-900B-C79FEBF10E33}" dt="2024-09-05T01:25:29.694" v="73" actId="20577"/>
          <ac:spMkLst>
            <pc:docMk/>
            <pc:sldMk cId="3092648446" sldId="2665"/>
            <ac:spMk id="110599" creationId="{8E3C508E-D880-40C9-8668-1D343AD4B446}"/>
          </ac:spMkLst>
        </pc:spChg>
        <pc:picChg chg="mod">
          <ac:chgData name="Taufik Edy Sutanto, M.Sc.Tech.,Ph.D" userId="012573cc-7230-4d80-9d32-62cda141001e" providerId="ADAL" clId="{19C71DC1-CC08-4296-900B-C79FEBF10E33}" dt="2024-09-05T01:25:21.440" v="72" actId="1076"/>
          <ac:picMkLst>
            <pc:docMk/>
            <pc:sldMk cId="3092648446" sldId="2665"/>
            <ac:picMk id="110601" creationId="{E522D7AB-6F20-437D-B1B2-FFA5394BA8DF}"/>
          </ac:picMkLst>
        </pc:picChg>
        <pc:picChg chg="mod">
          <ac:chgData name="Taufik Edy Sutanto, M.Sc.Tech.,Ph.D" userId="012573cc-7230-4d80-9d32-62cda141001e" providerId="ADAL" clId="{19C71DC1-CC08-4296-900B-C79FEBF10E33}" dt="2024-09-05T01:25:02.015" v="70" actId="1076"/>
          <ac:picMkLst>
            <pc:docMk/>
            <pc:sldMk cId="3092648446" sldId="2665"/>
            <ac:picMk id="110603" creationId="{952F5718-0F56-47F9-A418-12F955598855}"/>
          </ac:picMkLst>
        </pc:picChg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873852150" sldId="2683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1463869960" sldId="2690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590213523" sldId="2691"/>
        </pc:sldMkLst>
      </pc:sldChg>
      <pc:sldChg chg="modSp add del mod modTransition">
        <pc:chgData name="Taufik Edy Sutanto, M.Sc.Tech.,Ph.D" userId="012573cc-7230-4d80-9d32-62cda141001e" providerId="ADAL" clId="{19C71DC1-CC08-4296-900B-C79FEBF10E33}" dt="2024-09-11T05:28:10.219" v="258" actId="14100"/>
        <pc:sldMkLst>
          <pc:docMk/>
          <pc:sldMk cId="3395405371" sldId="2696"/>
        </pc:sldMkLst>
        <pc:spChg chg="mod">
          <ac:chgData name="Taufik Edy Sutanto, M.Sc.Tech.,Ph.D" userId="012573cc-7230-4d80-9d32-62cda141001e" providerId="ADAL" clId="{19C71DC1-CC08-4296-900B-C79FEBF10E33}" dt="2024-09-11T05:28:05.620" v="256" actId="14100"/>
          <ac:spMkLst>
            <pc:docMk/>
            <pc:sldMk cId="3395405371" sldId="2696"/>
            <ac:spMk id="4" creationId="{00000000-0000-0000-0000-000000000000}"/>
          </ac:spMkLst>
        </pc:spChg>
        <pc:picChg chg="mod">
          <ac:chgData name="Taufik Edy Sutanto, M.Sc.Tech.,Ph.D" userId="012573cc-7230-4d80-9d32-62cda141001e" providerId="ADAL" clId="{19C71DC1-CC08-4296-900B-C79FEBF10E33}" dt="2024-09-11T05:28:10.219" v="258" actId="14100"/>
          <ac:picMkLst>
            <pc:docMk/>
            <pc:sldMk cId="3395405371" sldId="2696"/>
            <ac:picMk id="9" creationId="{BCB145B1-29F3-44AD-85B0-7918E2559BD7}"/>
          </ac:picMkLst>
        </pc:picChg>
      </pc:sldChg>
      <pc:sldChg chg="del">
        <pc:chgData name="Taufik Edy Sutanto, M.Sc.Tech.,Ph.D" userId="012573cc-7230-4d80-9d32-62cda141001e" providerId="ADAL" clId="{19C71DC1-CC08-4296-900B-C79FEBF10E33}" dt="2024-09-05T01:29:53.104" v="183" actId="2696"/>
        <pc:sldMkLst>
          <pc:docMk/>
          <pc:sldMk cId="2854860960" sldId="269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982576416" sldId="2698"/>
        </pc:sldMkLst>
      </pc:sldChg>
      <pc:sldChg chg="modSp mod">
        <pc:chgData name="Taufik Edy Sutanto, M.Sc.Tech.,Ph.D" userId="012573cc-7230-4d80-9d32-62cda141001e" providerId="ADAL" clId="{19C71DC1-CC08-4296-900B-C79FEBF10E33}" dt="2024-09-05T01:31:43.209" v="234" actId="2711"/>
        <pc:sldMkLst>
          <pc:docMk/>
          <pc:sldMk cId="1505135750" sldId="2702"/>
        </pc:sldMkLst>
        <pc:spChg chg="mod">
          <ac:chgData name="Taufik Edy Sutanto, M.Sc.Tech.,Ph.D" userId="012573cc-7230-4d80-9d32-62cda141001e" providerId="ADAL" clId="{19C71DC1-CC08-4296-900B-C79FEBF10E33}" dt="2024-09-05T01:31:32.749" v="231" actId="1076"/>
          <ac:spMkLst>
            <pc:docMk/>
            <pc:sldMk cId="1505135750" sldId="2702"/>
            <ac:spMk id="4" creationId="{B20B0704-D00B-4736-979E-7CA37EBCF363}"/>
          </ac:spMkLst>
        </pc:spChg>
        <pc:spChg chg="mod">
          <ac:chgData name="Taufik Edy Sutanto, M.Sc.Tech.,Ph.D" userId="012573cc-7230-4d80-9d32-62cda141001e" providerId="ADAL" clId="{19C71DC1-CC08-4296-900B-C79FEBF10E33}" dt="2024-09-05T01:31:43.209" v="234" actId="2711"/>
          <ac:spMkLst>
            <pc:docMk/>
            <pc:sldMk cId="1505135750" sldId="2702"/>
            <ac:spMk id="5122" creationId="{00000000-0000-0000-0000-000000000000}"/>
          </ac:spMkLst>
        </pc:spChg>
        <pc:picChg chg="mod">
          <ac:chgData name="Taufik Edy Sutanto, M.Sc.Tech.,Ph.D" userId="012573cc-7230-4d80-9d32-62cda141001e" providerId="ADAL" clId="{19C71DC1-CC08-4296-900B-C79FEBF10E33}" dt="2024-09-05T01:31:28.226" v="230" actId="1076"/>
          <ac:picMkLst>
            <pc:docMk/>
            <pc:sldMk cId="1505135750" sldId="2702"/>
            <ac:picMk id="5" creationId="{9BE7639F-1D95-4129-88E9-FE4E072FBB4B}"/>
          </ac:picMkLst>
        </pc:pic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652084444" sldId="2759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1014862198" sldId="2769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005035870" sldId="281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065043595" sldId="2835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814174720" sldId="2841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179610315" sldId="2846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413514077" sldId="2854"/>
        </pc:sldMkLst>
      </pc:sldChg>
      <pc:sldChg chg="modSp mod">
        <pc:chgData name="Taufik Edy Sutanto, M.Sc.Tech.,Ph.D" userId="012573cc-7230-4d80-9d32-62cda141001e" providerId="ADAL" clId="{19C71DC1-CC08-4296-900B-C79FEBF10E33}" dt="2024-09-05T01:27:22.110" v="127" actId="20577"/>
        <pc:sldMkLst>
          <pc:docMk/>
          <pc:sldMk cId="3238148559" sldId="2906"/>
        </pc:sldMkLst>
        <pc:spChg chg="mod">
          <ac:chgData name="Taufik Edy Sutanto, M.Sc.Tech.,Ph.D" userId="012573cc-7230-4d80-9d32-62cda141001e" providerId="ADAL" clId="{19C71DC1-CC08-4296-900B-C79FEBF10E33}" dt="2024-09-05T01:27:22.110" v="127" actId="20577"/>
          <ac:spMkLst>
            <pc:docMk/>
            <pc:sldMk cId="3238148559" sldId="2906"/>
            <ac:spMk id="2" creationId="{35FC4F98-7F81-4D9E-8518-D83B170FF733}"/>
          </ac:spMkLst>
        </pc:spChg>
      </pc:sldChg>
      <pc:sldChg chg="add del">
        <pc:chgData name="Taufik Edy Sutanto, M.Sc.Tech.,Ph.D" userId="012573cc-7230-4d80-9d32-62cda141001e" providerId="ADAL" clId="{19C71DC1-CC08-4296-900B-C79FEBF10E33}" dt="2024-09-11T05:26:51.207" v="243"/>
        <pc:sldMkLst>
          <pc:docMk/>
          <pc:sldMk cId="1752577556" sldId="2907"/>
        </pc:sldMkLst>
      </pc:sldChg>
      <pc:sldChg chg="modSp add mod">
        <pc:chgData name="Taufik Edy Sutanto, M.Sc.Tech.,Ph.D" userId="012573cc-7230-4d80-9d32-62cda141001e" providerId="ADAL" clId="{19C71DC1-CC08-4296-900B-C79FEBF10E33}" dt="2024-09-11T05:27:18.729" v="251" actId="1076"/>
        <pc:sldMkLst>
          <pc:docMk/>
          <pc:sldMk cId="3821390103" sldId="2907"/>
        </pc:sldMkLst>
        <pc:spChg chg="mod">
          <ac:chgData name="Taufik Edy Sutanto, M.Sc.Tech.,Ph.D" userId="012573cc-7230-4d80-9d32-62cda141001e" providerId="ADAL" clId="{19C71DC1-CC08-4296-900B-C79FEBF10E33}" dt="2024-09-11T05:27:18.729" v="251" actId="1076"/>
          <ac:spMkLst>
            <pc:docMk/>
            <pc:sldMk cId="3821390103" sldId="2907"/>
            <ac:spMk id="4" creationId="{78ACA599-DDAE-41DA-8FF5-6A744A20BA5D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818889839" sldId="2949"/>
        </pc:sldMkLst>
      </pc:sldChg>
      <pc:sldChg chg="del">
        <pc:chgData name="Taufik Edy Sutanto, M.Sc.Tech.,Ph.D" userId="012573cc-7230-4d80-9d32-62cda141001e" providerId="ADAL" clId="{19C71DC1-CC08-4296-900B-C79FEBF10E33}" dt="2024-09-05T01:29:03.862" v="166" actId="2696"/>
        <pc:sldMkLst>
          <pc:docMk/>
          <pc:sldMk cId="2699825529" sldId="2950"/>
        </pc:sldMkLst>
      </pc:sldChg>
      <pc:sldMasterChg chg="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415727768" sldId="2147483661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415727768" sldId="2147483661"/>
            <pc:sldLayoutMk cId="4220025673" sldId="2147483727"/>
          </pc:sldLayoutMkLst>
        </pc:sldLayoutChg>
      </pc:sldMasterChg>
      <pc:sldMasterChg chg="del 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568299205" sldId="2147483701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18224994" sldId="214748370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512091228" sldId="2147483703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3478495937" sldId="2147483704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3418346818" sldId="214748370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769251764" sldId="2147483706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11984442" sldId="2147483707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99399489" sldId="2147483708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1493212046" sldId="2147483709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94798137" sldId="2147483710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1129144024" sldId="2147483711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4124505526" sldId="214748371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33675113" sldId="2147483713"/>
          </pc:sldLayoutMkLst>
        </pc:sldLayoutChg>
      </pc:sldMasterChg>
      <pc:sldMasterChg chg="del 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691662847" sldId="2147483714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209859069" sldId="214748371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241802202" sldId="2147483716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398889512" sldId="2147483717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2696914006" sldId="2147483718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869423187" sldId="2147483719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2406311520" sldId="2147483720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4260744060" sldId="2147483721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857550057" sldId="214748372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562043681" sldId="2147483723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876322040" sldId="2147483724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564583835" sldId="214748372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49050527" sldId="2147483726"/>
          </pc:sldLayoutMkLst>
        </pc:sldLayoutChg>
      </pc:sldMasterChg>
    </pc:docChg>
  </pc:docChgLst>
  <pc:docChgLst>
    <pc:chgData name="Taufik Edy Sutanto, M.Sc.Tech.,Ph.D" userId="012573cc-7230-4d80-9d32-62cda141001e" providerId="ADAL" clId="{22EE7982-4651-4C2E-898E-ACC78949D36C}"/>
    <pc:docChg chg="addSld modSld">
      <pc:chgData name="Taufik Edy Sutanto, M.Sc.Tech.,Ph.D" userId="012573cc-7230-4d80-9d32-62cda141001e" providerId="ADAL" clId="{22EE7982-4651-4C2E-898E-ACC78949D36C}" dt="2024-09-11T20:37:15.370" v="1" actId="1076"/>
      <pc:docMkLst>
        <pc:docMk/>
      </pc:docMkLst>
      <pc:sldChg chg="modSp add mod">
        <pc:chgData name="Taufik Edy Sutanto, M.Sc.Tech.,Ph.D" userId="012573cc-7230-4d80-9d32-62cda141001e" providerId="ADAL" clId="{22EE7982-4651-4C2E-898E-ACC78949D36C}" dt="2024-09-11T20:37:15.370" v="1" actId="1076"/>
        <pc:sldMkLst>
          <pc:docMk/>
          <pc:sldMk cId="1491092262" sldId="335"/>
        </pc:sldMkLst>
        <pc:spChg chg="mod">
          <ac:chgData name="Taufik Edy Sutanto, M.Sc.Tech.,Ph.D" userId="012573cc-7230-4d80-9d32-62cda141001e" providerId="ADAL" clId="{22EE7982-4651-4C2E-898E-ACC78949D36C}" dt="2024-09-11T20:37:15.370" v="1" actId="1076"/>
          <ac:spMkLst>
            <pc:docMk/>
            <pc:sldMk cId="1491092262" sldId="335"/>
            <ac:spMk id="8" creationId="{E0E02A32-9601-440A-9B0F-1C5A79D2D21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438458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438458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46635348-DBEF-4695-B298-01E05397A04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002200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9-09T06:51:17.80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 82 640 0 0,'3'1'2275'0'0,"1"-2"2997"0"0,-3 1-5308 0 0,0-1 0 0 0,0 0-1 0 0,0 0 1 0 0,0 0-1 0 0,0 0 1 0 0,0 0-1 0 0,0 0 1 0 0,0 0 0 0 0,0 0-1 0 0,-1-1 1 0 0,1 1-1 0 0,-1 0 1 0 0,1 0-1 0 0,-1-1 1 0 0,1 1 0 0 0,-1 0-1 0 0,0-1 1 0 0,1 1-1 0 0,-1 0 1 0 0,0-1-1 0 0,0 1 1 0 0,0-1 0 0 0,0 1-1 0 0,0 0 1 0 0,0-1 36 0 0,-1-1-395 0 0,1-1 0 0 0,-1 0 1 0 0,0 1-1 0 0,0 0 0 0 0,0-1 1 0 0,-1 1-1 0 0,1 0 1 0 0,-1-1-1 0 0,0 1 0 0 0,-1-2 395 0 0,-8-6-1874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438458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71800" y="549275"/>
            <a:ext cx="3657600" cy="2743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60120" y="3474720"/>
            <a:ext cx="7680960" cy="3291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438458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551FD892-07AC-4B6F-8844-47851227D720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578571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37721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>
            <a:extLst>
              <a:ext uri="{FF2B5EF4-FFF2-40B4-BE49-F238E27FC236}">
                <a16:creationId xmlns:a16="http://schemas.microsoft.com/office/drawing/2014/main" id="{B55D4B71-A720-44E3-A4B9-2DFC9284DF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Notes Placeholder 2">
            <a:extLst>
              <a:ext uri="{FF2B5EF4-FFF2-40B4-BE49-F238E27FC236}">
                <a16:creationId xmlns:a16="http://schemas.microsoft.com/office/drawing/2014/main" id="{224E9583-F00C-46F3-A169-17363B872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0950" y="3659909"/>
            <a:ext cx="7359253" cy="34665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75" tIns="49239" rIns="98475" bIns="49239"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altLang="en-US" dirty="0"/>
              <a:t>Oil vs Data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endParaRPr lang="en-US" altLang="en-US" dirty="0"/>
          </a:p>
        </p:txBody>
      </p:sp>
      <p:sp>
        <p:nvSpPr>
          <p:cNvPr id="111620" name="Slide Number Placeholder 3">
            <a:extLst>
              <a:ext uri="{FF2B5EF4-FFF2-40B4-BE49-F238E27FC236}">
                <a16:creationId xmlns:a16="http://schemas.microsoft.com/office/drawing/2014/main" id="{092AD252-8CA9-4B5D-A24D-0D2F2083099D}"/>
              </a:ext>
            </a:extLst>
          </p:cNvPr>
          <p:cNvSpPr txBox="1">
            <a:spLocks noGrp="1"/>
          </p:cNvSpPr>
          <p:nvPr/>
        </p:nvSpPr>
        <p:spPr bwMode="auto">
          <a:xfrm>
            <a:off x="5213152" y="7317185"/>
            <a:ext cx="3985917" cy="385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75" tIns="49239" rIns="98475" bIns="49239" anchor="b"/>
          <a:lstStyle>
            <a:lvl1pPr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7713" indent="-28733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9350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8138" indent="-228600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8513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57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829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401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73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defTabSz="484985">
              <a:defRPr/>
            </a:pPr>
            <a:fld id="{054FA920-1C9B-4CA5-BE6D-02A6A652AD0C}" type="slidenum">
              <a:rPr lang="en-US" altLang="en-US" sz="1300" b="0">
                <a:solidFill>
                  <a:srgbClr val="000000"/>
                </a:solidFill>
                <a:cs typeface="Arial" panose="020B0604020202020204" pitchFamily="34" charset="0"/>
              </a:rPr>
              <a:pPr algn="r" defTabSz="484985">
                <a:defRPr/>
              </a:pPr>
              <a:t>4</a:t>
            </a:fld>
            <a:endParaRPr lang="en-US" altLang="en-US" sz="1300" b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293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95010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825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71800" y="549275"/>
            <a:ext cx="3657600" cy="2743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825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9963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82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59313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3095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07/7/12/main" Requires="p14">
      <p:transition xmlns:p141="http://schemas.microsoft.com/office/powerpoint/2010/main" spd="slow" p141:dur="1700">
        <p141:gallery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18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753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258365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46641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11895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257730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02666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706339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106917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588163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44451"/>
            <a:ext cx="676002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4" name="Action Button: Home 13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Curved Up Ribbon 18"/>
          <p:cNvSpPr/>
          <p:nvPr userDrawn="1"/>
        </p:nvSpPr>
        <p:spPr bwMode="auto">
          <a:xfrm>
            <a:off x="77698" y="169081"/>
            <a:ext cx="1723541" cy="538492"/>
          </a:xfrm>
          <a:prstGeom prst="ellipseRibbon2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35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3" name="Pentagon 22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4" name="Pentagon 23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26" name="Pentagon 25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27" name="Pentagon 26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28" name="Pentagon 27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29" name="Pentagon 28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426222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31" y="44451"/>
            <a:ext cx="670559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6" name="Curved Up Ribbon 15"/>
          <p:cNvSpPr/>
          <p:nvPr userDrawn="1"/>
        </p:nvSpPr>
        <p:spPr bwMode="auto">
          <a:xfrm>
            <a:off x="54427" y="169081"/>
            <a:ext cx="1883232" cy="538492"/>
          </a:xfrm>
          <a:prstGeom prst="ellipseRibbon2">
            <a:avLst>
              <a:gd name="adj1" fmla="val 25000"/>
              <a:gd name="adj2" fmla="val 100000"/>
              <a:gd name="adj3" fmla="val 125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2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9" name="Action Button: Home 28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Pentagon 36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38" name="Pentagon 37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39" name="Pentagon 38">
            <a:hlinkClick r:id="rId3" action="ppaction://hlinksldjump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40" name="Pentagon 39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41" name="Pentagon 40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42" name="Pentagon 41">
            <a:hlinkClick r:id="rId3" action="ppaction://hlinksldjump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165726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5004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48876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48561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70504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135466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013970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15519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905313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568758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116856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791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11041770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409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3950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6780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492443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149035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485025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742920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0307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49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12/09/2024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62979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14254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691441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5674"/>
            <a:ext cx="82296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760707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8B03F-EB71-410D-A9C3-2D2AC60C84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77EC6C-FF8E-4AAE-B6E8-226BD551F7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6A6717-B0C0-44C1-A7AA-8C117B3E9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E5E5D-80C9-46B8-B697-9A54A575C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041BB-7A72-43E2-9893-1FF9F3694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6914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9B5551-51AF-4DDB-B83F-67EF20484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FF0E7-6F29-41A1-9A79-467FE0B860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B19DA6-7E4C-4D81-87A3-3E9AB00DC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352FA-B019-45A0-B5B3-429DA0C7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7ABD4C-CCFF-4EA8-B0D9-78E1EE447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93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86797-CD77-463D-B20B-E31409F4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3734E-B29A-41DF-966C-F6F9807EC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7AC8D4-16DF-418A-B561-315CFB7D1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ED482F-CD8A-417A-9180-C3CB13EB5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88BC6B-2238-4F42-8A20-2BBF6D86A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9500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2E1D6-8F5E-4D5E-8590-DDF4F314B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9BD5BF-F646-45A0-9D45-839B57ECDE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1CB740-2940-49DF-A4ED-1A3FCD5512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05D94-BE73-455C-9FC9-0E9D94662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A971C2-0268-4127-8441-E825F0BC0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F998E0-5F09-4DB4-8AF6-93C733433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1222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542A6-5CDE-4103-878C-3FD05FDC8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FB54EB-FD62-4AD1-A7BA-94BF3A00AD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17967F-F563-4822-B8C7-F9531DF5B0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A9A81E-D741-4C20-AF41-834F0764ED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E94A0-45ED-473B-A985-354EA7DDFE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646A99-4B06-40C6-BC1F-6DCF5051C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149601-28C7-46D3-98E9-C01731F34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211C91-D0F4-43AB-A65B-B3A4A6CC3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1462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DC96D-9259-4193-AA29-9C555513A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399C55-D785-4815-844F-10552A8B0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5A0546-62B4-4A71-945D-0CDDF00BE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D1FA51-7F1E-4675-A594-ED6AE654C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0747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64601B-CDAA-417C-896A-3EBBF8359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91B993-D7C5-4B2F-978A-53C1EAAC5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AB1606-B9AC-4E4C-BDB5-EFB17BF6D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7159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716A5-B55C-4E0A-8E80-86F8981F7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DB415D-BD3B-4BF1-8702-ACB73F739D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A1B6E5-8961-47C3-82F6-84F8209864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15EFA-9CDB-407E-A02C-559361022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583BD7-A3AB-4146-B913-49E0021E1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FEE8AB-4161-4B83-B736-16A17329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101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F0B64-16D0-4DD1-B453-AF6665549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C15406-DEC9-4387-8D9E-76AD25AAB0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3FE20B-13AB-4D94-A3C2-7925ACFD08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CD83F7-4D58-48EE-854B-BBCAA0675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89F3C9-528D-4723-9868-C8EC2755C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1BBCA-FD3A-4E60-8E98-F1C2B6193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46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6CB62-DE42-49E8-BA74-67778CC92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6D53F0-4002-468C-A76A-D5B2444BF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949F17-23EF-4437-9DAC-2E8D15EF1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3A19B-6D9A-433C-B5EF-B8E2C7921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71ADC-190F-451D-9E92-EC6F2D559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0686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051EC9-B24C-4BC9-82E4-0B3B7C3CE5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B198D9-BA81-4EAE-AFB9-D4959FA4F4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EE91E6-EDA5-4866-AE21-838EE23C0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1A2FF-A882-4128-94DB-655A820AEA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BF748-DD2E-44B3-8F36-441D6726E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892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14" imgW="9561905" imgH="1600000" progId="">
                  <p:embed/>
                </p:oleObj>
              </mc:Choice>
              <mc:Fallback>
                <p:oleObj name="Image" r:id="rId14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17505-E79A-4CE3-955B-46529E59C72C}" type="datetimeFigureOut">
              <a:rPr lang="en-US" smtClean="0"/>
              <a:pPr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72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ransition spd="slow">
    <p:fade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71846"/>
            <a:ext cx="9144000" cy="314793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981946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0809AC-7EC4-49E0-990C-A6C64F487F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4B1242-C231-4EEF-BCE9-DA025AF022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5FF5F-AE2C-4B42-B0CC-0596B671F5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30115F-65E7-4948-BBBD-A84F05213A8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5D5724-EF5C-4A01-9DE7-01578DB37C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A064B1-DC35-4C35-A879-FEE290790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01DDA6-1DBC-4F4A-8EE5-258398DC1D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27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gif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1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gif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ChangeArrowheads="1"/>
          </p:cNvSpPr>
          <p:nvPr/>
        </p:nvSpPr>
        <p:spPr bwMode="auto">
          <a:xfrm>
            <a:off x="-16496" y="2204864"/>
            <a:ext cx="9160496" cy="1928826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  <a:effectLst/>
        </p:spPr>
        <p:txBody>
          <a:bodyPr wrap="none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60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ek - 01</a:t>
            </a:r>
          </a:p>
          <a:p>
            <a:r>
              <a:rPr lang="en-US" sz="5400">
                <a:ln/>
              </a:rPr>
              <a:t>Introduction to Data Mining</a:t>
            </a:r>
            <a:endParaRPr lang="en-US" sz="5400" dirty="0">
              <a:ln/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155652" name="Rectangle 4"/>
          <p:cNvSpPr>
            <a:spLocks noChangeArrowheads="1"/>
          </p:cNvSpPr>
          <p:nvPr/>
        </p:nvSpPr>
        <p:spPr bwMode="auto">
          <a:xfrm>
            <a:off x="0" y="6379008"/>
            <a:ext cx="9144000" cy="478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r>
              <a:rPr lang="en-US" sz="2400" dirty="0">
                <a:solidFill>
                  <a:srgbClr val="060BC6"/>
                </a:solidFill>
              </a:rPr>
              <a:t>Taufik Sutanto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4437112"/>
            <a:ext cx="8954207" cy="1426886"/>
            <a:chOff x="0" y="4743472"/>
            <a:chExt cx="8954207" cy="1426886"/>
          </a:xfrm>
        </p:grpSpPr>
        <p:pic>
          <p:nvPicPr>
            <p:cNvPr id="11" name="Picture 10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ect">
              <a:avLst/>
            </a:prstGeom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F0616A53-D93D-4477-8D9B-F51051A861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5238"/>
            <a:ext cx="746055" cy="7485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2BDC5E-C461-4D88-81E5-EA44CF2337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665" y="35238"/>
            <a:ext cx="531335" cy="531335"/>
          </a:xfrm>
          <a:prstGeom prst="rect">
            <a:avLst/>
          </a:prstGeom>
        </p:spPr>
      </p:pic>
      <p:pic>
        <p:nvPicPr>
          <p:cNvPr id="8" name="Picture 7" descr="A logo of a light bulb&#10;&#10;Description automatically generated">
            <a:extLst>
              <a:ext uri="{FF2B5EF4-FFF2-40B4-BE49-F238E27FC236}">
                <a16:creationId xmlns:a16="http://schemas.microsoft.com/office/drawing/2014/main" id="{8B3930B8-0C0A-FC7D-B927-1B61DC6FBB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177" y="35238"/>
            <a:ext cx="531335" cy="53133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68521" y="713990"/>
            <a:ext cx="5790888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today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700808"/>
            <a:ext cx="4176464" cy="5157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7350"/>
            <a:ext cx="4932040" cy="4971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717350"/>
            <a:ext cx="2857500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2942480"/>
            <a:ext cx="3239202" cy="3915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34105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33384" y="428604"/>
            <a:ext cx="5790888" cy="110799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66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610600" cy="49815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56176" y="5373216"/>
            <a:ext cx="29878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“Complex”, </a:t>
            </a:r>
          </a:p>
          <a:p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but theoretically simple, </a:t>
            </a:r>
            <a:r>
              <a:rPr lang="en-US" sz="2400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Mengapa</a:t>
            </a:r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?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EB83584C-09D8-4A9D-B12D-A834A7A1456D}"/>
                  </a:ext>
                </a:extLst>
              </p14:cNvPr>
              <p14:cNvContentPartPr/>
              <p14:nvPr/>
            </p14:nvContentPartPr>
            <p14:xfrm>
              <a:off x="8629164" y="2793364"/>
              <a:ext cx="9720" cy="302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EB83584C-09D8-4A9D-B12D-A834A7A1456D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620164" y="2784724"/>
                <a:ext cx="27360" cy="4788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33384" y="561454"/>
            <a:ext cx="5790888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54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</a:t>
            </a:r>
          </a:p>
        </p:txBody>
      </p:sp>
      <p:pic>
        <p:nvPicPr>
          <p:cNvPr id="2" name="What is Data Mining">
            <a:hlinkClick r:id="" action="ppaction://media"/>
            <a:extLst>
              <a:ext uri="{FF2B5EF4-FFF2-40B4-BE49-F238E27FC236}">
                <a16:creationId xmlns:a16="http://schemas.microsoft.com/office/drawing/2014/main" id="{79129CF1-FD0C-4CCD-BCAF-E50F1048712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685156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7887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199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971600" y="620688"/>
            <a:ext cx="8172400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4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 - Example</a:t>
            </a:r>
          </a:p>
        </p:txBody>
      </p:sp>
      <p:pic>
        <p:nvPicPr>
          <p:cNvPr id="2" name="Data Mining Example - The CheckOut">
            <a:hlinkClick r:id="" action="ppaction://media"/>
            <a:extLst>
              <a:ext uri="{FF2B5EF4-FFF2-40B4-BE49-F238E27FC236}">
                <a16:creationId xmlns:a16="http://schemas.microsoft.com/office/drawing/2014/main" id="{872CA1AD-0323-4570-BB3B-3D42D89B425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39888" y="1772816"/>
            <a:ext cx="9223775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9189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254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A70C314-142E-42FB-B0A7-2FB2AFB7CB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t="13797" r="5636" b="8107"/>
          <a:stretch/>
        </p:blipFill>
        <p:spPr>
          <a:xfrm>
            <a:off x="5220072" y="836712"/>
            <a:ext cx="3823460" cy="23762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0D7DBC7-D60B-4ECD-900F-4F4CF878D5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9184" y="3933056"/>
            <a:ext cx="3214814" cy="28704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158626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VS The R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84D90-8354-431A-9640-95735455CE4B}"/>
              </a:ext>
            </a:extLst>
          </p:cNvPr>
          <p:cNvSpPr txBox="1"/>
          <p:nvPr/>
        </p:nvSpPr>
        <p:spPr>
          <a:xfrm>
            <a:off x="-108520" y="911617"/>
            <a:ext cx="6300192" cy="63709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cs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1 h, 1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n h, 1-n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rtificial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mimicking human intelligence]</a:t>
            </a: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chine Learning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sym typeface="Symbol" panose="05050102010706020507" pitchFamily="18" charset="2"/>
              </a:rPr>
              <a:t> A.I., 1 task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dashboard, aggregate, query, slice-dice]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Analytics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adv. models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srgbClr val="060BC6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6 Sigma/TQM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QC]</a:t>
            </a:r>
          </a:p>
          <a:p>
            <a:pPr marL="231775" lvl="0" indent="-231775" algn="l">
              <a:buFont typeface="Arial" panose="020B0604020202020204" pitchFamily="34" charset="0"/>
              <a:buChar char="•"/>
              <a:defRPr/>
            </a:pPr>
            <a:r>
              <a:rPr lang="en-US" b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</a:rPr>
              <a:t>Quant</a:t>
            </a:r>
            <a:endParaRPr kumimoji="0" lang="en-US" sz="24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lvl="0" indent="-231775" algn="l">
              <a:buFont typeface="Arial" panose="020B0604020202020204" pitchFamily="34" charset="0"/>
              <a:buChar char="•"/>
              <a:defRPr/>
            </a:pPr>
            <a:r>
              <a:rPr lang="en-US" b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</a:rPr>
              <a:t>Data Science? </a:t>
            </a:r>
            <a:endParaRPr lang="en-US" sz="2400" b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8304142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14348" y="571480"/>
            <a:ext cx="8215338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4400" cap="all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 Application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0" y="1597316"/>
            <a:ext cx="4572000" cy="2960006"/>
            <a:chOff x="0" y="1597316"/>
            <a:chExt cx="4572000" cy="2960006"/>
          </a:xfrm>
        </p:grpSpPr>
        <p:sp>
          <p:nvSpPr>
            <p:cNvPr id="3" name="Rectangle 2"/>
            <p:cNvSpPr/>
            <p:nvPr/>
          </p:nvSpPr>
          <p:spPr>
            <a:xfrm>
              <a:off x="0" y="3849436"/>
              <a:ext cx="4572000" cy="7078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AU" sz="1600" dirty="0">
                  <a:solidFill>
                    <a:schemeClr val="tx1"/>
                  </a:solidFill>
                </a:rPr>
                <a:t>Mustafa T, </a:t>
              </a:r>
              <a:r>
                <a:rPr lang="en-AU" sz="1600" dirty="0" err="1">
                  <a:solidFill>
                    <a:schemeClr val="tx1"/>
                  </a:solidFill>
                </a:rPr>
                <a:t>Sattar</a:t>
              </a:r>
              <a:r>
                <a:rPr lang="en-AU" sz="1600" dirty="0">
                  <a:solidFill>
                    <a:schemeClr val="tx1"/>
                  </a:solidFill>
                </a:rPr>
                <a:t> A &amp; Khan M 2012</a:t>
              </a:r>
              <a:r>
                <a:rPr lang="en-AU" sz="1200" dirty="0">
                  <a:solidFill>
                    <a:schemeClr val="tx1"/>
                  </a:solidFill>
                </a:rPr>
                <a:t>, 'Data Mining Model for Higher Education System', </a:t>
              </a:r>
              <a:r>
                <a:rPr lang="en-AU" sz="1200" i="1" dirty="0">
                  <a:solidFill>
                    <a:schemeClr val="tx1"/>
                  </a:solidFill>
                </a:rPr>
                <a:t>European Journal of Scientific Research</a:t>
              </a:r>
              <a:r>
                <a:rPr lang="en-AU" sz="1200" dirty="0">
                  <a:solidFill>
                    <a:schemeClr val="tx1"/>
                  </a:solidFill>
                </a:rPr>
                <a:t>, </a:t>
              </a:r>
              <a:r>
                <a:rPr lang="en-AU" sz="1200" dirty="0" err="1">
                  <a:solidFill>
                    <a:schemeClr val="tx1"/>
                  </a:solidFill>
                </a:rPr>
                <a:t>vol</a:t>
              </a:r>
              <a:r>
                <a:rPr lang="en-AU" sz="1200" dirty="0">
                  <a:solidFill>
                    <a:schemeClr val="tx1"/>
                  </a:solidFill>
                </a:rPr>
                <a:t> 43, no. 1, pp. 24-29.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229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4" y="1597316"/>
              <a:ext cx="2993556" cy="2242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4917088" y="1707416"/>
            <a:ext cx="3997646" cy="2945720"/>
            <a:chOff x="4917088" y="1857823"/>
            <a:chExt cx="3997646" cy="2945720"/>
          </a:xfrm>
        </p:grpSpPr>
        <p:sp>
          <p:nvSpPr>
            <p:cNvPr id="5" name="Rectangle 4"/>
            <p:cNvSpPr/>
            <p:nvPr/>
          </p:nvSpPr>
          <p:spPr>
            <a:xfrm>
              <a:off x="4917088" y="3603214"/>
              <a:ext cx="3997646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AU" sz="1800" b="0" dirty="0">
                  <a:solidFill>
                    <a:schemeClr val="tx1"/>
                  </a:solidFill>
                </a:rPr>
                <a:t>Rifkin, R</a:t>
              </a:r>
              <a:r>
                <a:rPr lang="en-AU" sz="1200" b="0" dirty="0">
                  <a:solidFill>
                    <a:schemeClr val="tx1"/>
                  </a:solidFill>
                </a:rPr>
                <a:t>, Mukherjee, S, Tamayo, P, </a:t>
              </a:r>
              <a:r>
                <a:rPr lang="en-AU" sz="1200" b="0" dirty="0" err="1">
                  <a:solidFill>
                    <a:schemeClr val="tx1"/>
                  </a:solidFill>
                </a:rPr>
                <a:t>Ramaswamy</a:t>
              </a:r>
              <a:r>
                <a:rPr lang="en-AU" sz="1200" b="0" dirty="0">
                  <a:solidFill>
                    <a:schemeClr val="tx1"/>
                  </a:solidFill>
                </a:rPr>
                <a:t>, S, </a:t>
              </a:r>
              <a:r>
                <a:rPr lang="en-AU" sz="1200" b="0" dirty="0" err="1">
                  <a:solidFill>
                    <a:schemeClr val="tx1"/>
                  </a:solidFill>
                </a:rPr>
                <a:t>Yeang</a:t>
              </a:r>
              <a:r>
                <a:rPr lang="en-AU" sz="1200" b="0" dirty="0">
                  <a:solidFill>
                    <a:schemeClr val="tx1"/>
                  </a:solidFill>
                </a:rPr>
                <a:t>, C-H, Angelo, M, Reich, M, </a:t>
              </a:r>
              <a:r>
                <a:rPr lang="en-AU" sz="1200" b="0" dirty="0" err="1">
                  <a:solidFill>
                    <a:schemeClr val="tx1"/>
                  </a:solidFill>
                </a:rPr>
                <a:t>Poggio</a:t>
              </a:r>
              <a:r>
                <a:rPr lang="en-AU" sz="1200" b="0" dirty="0">
                  <a:solidFill>
                    <a:schemeClr val="tx1"/>
                  </a:solidFill>
                </a:rPr>
                <a:t>, T, Lander, E, </a:t>
              </a:r>
              <a:r>
                <a:rPr lang="en-AU" sz="1200" b="0" dirty="0" err="1">
                  <a:solidFill>
                    <a:schemeClr val="tx1"/>
                  </a:solidFill>
                </a:rPr>
                <a:t>Golub</a:t>
              </a:r>
              <a:r>
                <a:rPr lang="en-AU" sz="1200" b="0" dirty="0">
                  <a:solidFill>
                    <a:schemeClr val="tx1"/>
                  </a:solidFill>
                </a:rPr>
                <a:t>, T &amp; </a:t>
              </a:r>
              <a:r>
                <a:rPr lang="en-AU" sz="1200" b="0" dirty="0" err="1">
                  <a:solidFill>
                    <a:schemeClr val="tx1"/>
                  </a:solidFill>
                </a:rPr>
                <a:t>Mesirov</a:t>
              </a:r>
              <a:r>
                <a:rPr lang="en-AU" sz="1200" b="0" dirty="0">
                  <a:solidFill>
                    <a:schemeClr val="tx1"/>
                  </a:solidFill>
                </a:rPr>
                <a:t>, J </a:t>
              </a:r>
              <a:r>
                <a:rPr lang="en-AU" sz="1800" b="0" dirty="0">
                  <a:solidFill>
                    <a:schemeClr val="tx1"/>
                  </a:solidFill>
                </a:rPr>
                <a:t>2003</a:t>
              </a:r>
              <a:r>
                <a:rPr lang="en-AU" sz="1200" b="0" dirty="0">
                  <a:solidFill>
                    <a:schemeClr val="tx1"/>
                  </a:solidFill>
                </a:rPr>
                <a:t>, 'An analytical method for multiclass molecular cancer classification', </a:t>
              </a:r>
              <a:r>
                <a:rPr lang="en-AU" sz="1200" b="0" i="1" dirty="0">
                  <a:solidFill>
                    <a:schemeClr val="tx1"/>
                  </a:solidFill>
                </a:rPr>
                <a:t>SIAM Review</a:t>
              </a:r>
              <a:r>
                <a:rPr lang="en-AU" sz="1200" b="0" dirty="0">
                  <a:solidFill>
                    <a:schemeClr val="tx1"/>
                  </a:solidFill>
                </a:rPr>
                <a:t>, </a:t>
              </a:r>
              <a:r>
                <a:rPr lang="en-AU" sz="1200" b="0" dirty="0" err="1">
                  <a:solidFill>
                    <a:schemeClr val="tx1"/>
                  </a:solidFill>
                </a:rPr>
                <a:t>vol</a:t>
              </a:r>
              <a:r>
                <a:rPr lang="en-AU" sz="1200" b="0" dirty="0">
                  <a:solidFill>
                    <a:schemeClr val="tx1"/>
                  </a:solidFill>
                </a:rPr>
                <a:t> 45, pp. 706-723.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4993864" y="1857823"/>
              <a:ext cx="3917366" cy="1721261"/>
              <a:chOff x="4993864" y="1857823"/>
              <a:chExt cx="3917366" cy="1721261"/>
            </a:xfrm>
          </p:grpSpPr>
          <p:pic>
            <p:nvPicPr>
              <p:cNvPr id="12291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2893" y="1857823"/>
                <a:ext cx="2188337" cy="172126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292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93864" y="1857823"/>
                <a:ext cx="1721261" cy="172126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1" name="Group 10"/>
          <p:cNvGrpSpPr/>
          <p:nvPr/>
        </p:nvGrpSpPr>
        <p:grpSpPr>
          <a:xfrm>
            <a:off x="323528" y="4640685"/>
            <a:ext cx="8820472" cy="2066925"/>
            <a:chOff x="323528" y="4640685"/>
            <a:chExt cx="8820472" cy="2066925"/>
          </a:xfrm>
        </p:grpSpPr>
        <p:pic>
          <p:nvPicPr>
            <p:cNvPr id="12293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640685"/>
              <a:ext cx="2209800" cy="20669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/>
          </p:nvSpPr>
          <p:spPr>
            <a:xfrm>
              <a:off x="2504086" y="5073982"/>
              <a:ext cx="663991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0" dirty="0" err="1">
                  <a:solidFill>
                    <a:schemeClr val="tx1"/>
                  </a:solidFill>
                </a:rPr>
                <a:t>Olaiya</a:t>
              </a:r>
              <a:r>
                <a:rPr lang="en-US" sz="2000" b="0" dirty="0">
                  <a:solidFill>
                    <a:schemeClr val="tx1"/>
                  </a:solidFill>
                </a:rPr>
                <a:t> F &amp; </a:t>
              </a:r>
              <a:r>
                <a:rPr lang="en-US" sz="2000" b="0" dirty="0" err="1">
                  <a:solidFill>
                    <a:schemeClr val="tx1"/>
                  </a:solidFill>
                </a:rPr>
                <a:t>Adeyemo</a:t>
              </a:r>
              <a:r>
                <a:rPr lang="en-US" sz="2000" b="0" dirty="0">
                  <a:solidFill>
                    <a:schemeClr val="tx1"/>
                  </a:solidFill>
                </a:rPr>
                <a:t> AB 2012</a:t>
              </a:r>
              <a:r>
                <a:rPr lang="en-US" b="0" dirty="0">
                  <a:solidFill>
                    <a:schemeClr val="tx1"/>
                  </a:solidFill>
                </a:rPr>
                <a:t>, </a:t>
              </a:r>
              <a:r>
                <a:rPr lang="en-US" sz="1200" b="0" dirty="0">
                  <a:solidFill>
                    <a:schemeClr val="tx1"/>
                  </a:solidFill>
                </a:rPr>
                <a:t>'Application of Data Mining Techniques in Weather Prediction and Climate Change Studies', I.J. Information Engineering and Electronic Business, 1, p. 51-59</a:t>
              </a:r>
              <a:endParaRPr lang="en-US" sz="40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243408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AU" dirty="0">
                <a:solidFill>
                  <a:schemeClr val="tx1"/>
                </a:solidFill>
              </a:rPr>
              <a:t>Data </a:t>
            </a:r>
            <a:r>
              <a:rPr lang="en-AU" dirty="0">
                <a:solidFill>
                  <a:schemeClr val="tx1"/>
                </a:solidFill>
                <a:sym typeface="Wingdings" panose="05000000000000000000" pitchFamily="2" charset="2"/>
              </a:rPr>
              <a:t> </a:t>
            </a:r>
            <a:r>
              <a:rPr lang="en-AU">
                <a:solidFill>
                  <a:schemeClr val="tx1"/>
                </a:solidFill>
                <a:sym typeface="Wingdings" panose="05000000000000000000" pitchFamily="2" charset="2"/>
              </a:rPr>
              <a:t>Information  DIKW Pyrami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8DC3CC2-13A1-465A-837B-701257B59437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28092"/>
            <a:ext cx="6908800" cy="4076700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BF04182-02D9-4B3A-9FC3-3A44DFCA5797}"/>
              </a:ext>
            </a:extLst>
          </p:cNvPr>
          <p:cNvSpPr/>
          <p:nvPr/>
        </p:nvSpPr>
        <p:spPr>
          <a:xfrm>
            <a:off x="21916" y="3973905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climate-eval.org/blog/answer-42-data-information-and-knowled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3B2447-F07A-417B-B459-39B937602D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040" y="3910855"/>
            <a:ext cx="4211960" cy="27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036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752" y="35200"/>
            <a:ext cx="9036496" cy="873519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AU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?</a:t>
            </a:r>
            <a:endParaRPr lang="en-US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B0704-D00B-4736-979E-7CA37EBCF363}"/>
              </a:ext>
            </a:extLst>
          </p:cNvPr>
          <p:cNvSpPr/>
          <p:nvPr/>
        </p:nvSpPr>
        <p:spPr>
          <a:xfrm>
            <a:off x="-1016" y="908720"/>
            <a:ext cx="914501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000" b="0" dirty="0">
                <a:solidFill>
                  <a:srgbClr val="000000"/>
                </a:solidFill>
                <a:latin typeface="Nunito Sans"/>
              </a:rPr>
              <a:t>Information helps us to observe what is happening, while insights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explain why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. These business </a:t>
            </a:r>
            <a:r>
              <a:rPr lang="en-US" sz="2000" dirty="0">
                <a:solidFill>
                  <a:srgbClr val="000000"/>
                </a:solidFill>
                <a:latin typeface="Nunito Sans"/>
              </a:rPr>
              <a:t>insight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help to arrive at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decision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and define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strategy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. </a:t>
            </a: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endParaRPr lang="en-US" sz="2000" b="0" dirty="0">
              <a:solidFill>
                <a:srgbClr val="000000"/>
              </a:solidFill>
              <a:latin typeface="Nunito Sans"/>
            </a:endParaRPr>
          </a:p>
          <a:p>
            <a:pPr algn="l"/>
            <a:r>
              <a:rPr lang="en-US" sz="2000" dirty="0">
                <a:solidFill>
                  <a:srgbClr val="000000"/>
                </a:solidFill>
                <a:latin typeface="Nunito Sans"/>
              </a:rPr>
              <a:t>Insight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dive deeper 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into data and connect dots that may seem unrelated to shed light on the questions under consideration.</a:t>
            </a: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r>
              <a:rPr lang="en-US" sz="2000" b="0" dirty="0">
                <a:solidFill>
                  <a:srgbClr val="060BC6"/>
                </a:solidFill>
                <a:latin typeface="Nunito Sans"/>
              </a:rPr>
              <a:t>treehousetechgroup.com </a:t>
            </a:r>
            <a:endParaRPr lang="en-US" sz="2000" b="0" i="0" dirty="0">
              <a:solidFill>
                <a:srgbClr val="060BC6"/>
              </a:solidFill>
              <a:effectLst/>
              <a:latin typeface="Nunito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E7639F-1D95-4129-88E9-FE4E072FBB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048" y="2598359"/>
            <a:ext cx="3955342" cy="3955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1357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Gambar 1. DIKW Pyramid [image source]">
            <a:extLst>
              <a:ext uri="{FF2B5EF4-FFF2-40B4-BE49-F238E27FC236}">
                <a16:creationId xmlns:a16="http://schemas.microsoft.com/office/drawing/2014/main" id="{F2883DEE-A7B6-422D-96C9-179291B0256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55" y="2675467"/>
            <a:ext cx="3249478" cy="240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68004-14BC-4E44-A707-31E3773AA406}"/>
              </a:ext>
            </a:extLst>
          </p:cNvPr>
          <p:cNvSpPr/>
          <p:nvPr/>
        </p:nvSpPr>
        <p:spPr>
          <a:xfrm>
            <a:off x="0" y="5159253"/>
            <a:ext cx="32494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85800" fontAlgn="auto">
              <a:spcBef>
                <a:spcPts val="0"/>
              </a:spcBef>
              <a:spcAft>
                <a:spcPts val="0"/>
              </a:spcAft>
            </a:pPr>
            <a:r>
              <a:rPr lang="id-ID" sz="1800" b="0" dirty="0">
                <a:solidFill>
                  <a:prstClr val="black"/>
                </a:solidFill>
                <a:latin typeface="Calibri"/>
                <a:ea typeface="+mn-ea"/>
              </a:rPr>
              <a:t>https://kvaes.wordpress.com/2013/05/31/data-knowledge-information-wisdom/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E02A32-9601-440A-9B0F-1C5A79D2D213}"/>
              </a:ext>
            </a:extLst>
          </p:cNvPr>
          <p:cNvSpPr txBox="1"/>
          <p:nvPr/>
        </p:nvSpPr>
        <p:spPr>
          <a:xfrm>
            <a:off x="1313725" y="49881"/>
            <a:ext cx="6516549" cy="71558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l" defTabSz="685800">
              <a:defRPr/>
            </a:pPr>
            <a:r>
              <a:rPr lang="en-US" sz="4050" b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? Information? Insight?</a:t>
            </a:r>
            <a:endParaRPr lang="id-ID" sz="4950" b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C8AA08-E253-4D1C-B90C-4962A32F0A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747" y="2215400"/>
            <a:ext cx="4904045" cy="2943853"/>
          </a:xfrm>
          <a:prstGeom prst="rect">
            <a:avLst/>
          </a:prstGeom>
        </p:spPr>
      </p:pic>
      <p:sp>
        <p:nvSpPr>
          <p:cNvPr id="12" name="Speech Bubble: Oval 11">
            <a:extLst>
              <a:ext uri="{FF2B5EF4-FFF2-40B4-BE49-F238E27FC236}">
                <a16:creationId xmlns:a16="http://schemas.microsoft.com/office/drawing/2014/main" id="{BC8D3F09-8821-44E1-AB84-1447D7361825}"/>
              </a:ext>
            </a:extLst>
          </p:cNvPr>
          <p:cNvSpPr/>
          <p:nvPr/>
        </p:nvSpPr>
        <p:spPr>
          <a:xfrm>
            <a:off x="1193800" y="1865805"/>
            <a:ext cx="1456266" cy="692498"/>
          </a:xfrm>
          <a:prstGeom prst="wedgeEllipseCallout">
            <a:avLst>
              <a:gd name="adj1" fmla="val 106247"/>
              <a:gd name="adj2" fmla="val 1660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350" b="0" dirty="0">
                <a:solidFill>
                  <a:prstClr val="black"/>
                </a:solidFill>
                <a:latin typeface="Calibri"/>
              </a:rPr>
              <a:t>Fakta,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ukur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,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kuantitas</a:t>
            </a:r>
            <a:endParaRPr lang="id-ID" sz="1350" b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Speech Bubble: Oval 13">
            <a:extLst>
              <a:ext uri="{FF2B5EF4-FFF2-40B4-BE49-F238E27FC236}">
                <a16:creationId xmlns:a16="http://schemas.microsoft.com/office/drawing/2014/main" id="{7DCF6320-4783-4DE2-894D-B496338FEB15}"/>
              </a:ext>
            </a:extLst>
          </p:cNvPr>
          <p:cNvSpPr/>
          <p:nvPr/>
        </p:nvSpPr>
        <p:spPr>
          <a:xfrm>
            <a:off x="6045201" y="5248985"/>
            <a:ext cx="3014134" cy="692498"/>
          </a:xfrm>
          <a:prstGeom prst="wedgeEllipseCallout">
            <a:avLst>
              <a:gd name="adj1" fmla="val -108238"/>
              <a:gd name="adj2" fmla="val -38319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350" b="0" dirty="0">
                <a:solidFill>
                  <a:prstClr val="black"/>
                </a:solidFill>
                <a:latin typeface="Calibri"/>
              </a:rPr>
              <a:t>Sebagian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mendefinisik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sebagai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“knowledge”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dari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data/Meaningful data</a:t>
            </a:r>
            <a:endParaRPr lang="id-ID" sz="1350" b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Speech Bubble: Oval 14">
            <a:extLst>
              <a:ext uri="{FF2B5EF4-FFF2-40B4-BE49-F238E27FC236}">
                <a16:creationId xmlns:a16="http://schemas.microsoft.com/office/drawing/2014/main" id="{440B00F9-C5F8-43CE-A664-CADA2752E0AF}"/>
              </a:ext>
            </a:extLst>
          </p:cNvPr>
          <p:cNvSpPr/>
          <p:nvPr/>
        </p:nvSpPr>
        <p:spPr>
          <a:xfrm>
            <a:off x="2607732" y="5367001"/>
            <a:ext cx="3014134" cy="692498"/>
          </a:xfrm>
          <a:prstGeom prst="wedgeEllipseCallout">
            <a:avLst>
              <a:gd name="adj1" fmla="val -9923"/>
              <a:gd name="adj2" fmla="val -34529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Informasi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dikaitk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deng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pengetahu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teori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/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praktis</a:t>
            </a:r>
            <a:endParaRPr lang="id-ID" sz="1350" b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Speech Bubble: Oval 15">
            <a:extLst>
              <a:ext uri="{FF2B5EF4-FFF2-40B4-BE49-F238E27FC236}">
                <a16:creationId xmlns:a16="http://schemas.microsoft.com/office/drawing/2014/main" id="{2253FE3B-F506-4DE4-B493-EDB65E7C8301}"/>
              </a:ext>
            </a:extLst>
          </p:cNvPr>
          <p:cNvSpPr/>
          <p:nvPr/>
        </p:nvSpPr>
        <p:spPr>
          <a:xfrm>
            <a:off x="6045201" y="2390968"/>
            <a:ext cx="3014134" cy="692498"/>
          </a:xfrm>
          <a:prstGeom prst="wedgeEllipseCallout">
            <a:avLst>
              <a:gd name="adj1" fmla="val -112451"/>
              <a:gd name="adj2" fmla="val 1205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Pemaham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mendalam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akan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suatu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hal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 yang </a:t>
            </a:r>
            <a:r>
              <a:rPr lang="en-US" sz="1350" b="0" dirty="0" err="1">
                <a:solidFill>
                  <a:prstClr val="black"/>
                </a:solidFill>
                <a:latin typeface="Calibri"/>
              </a:rPr>
              <a:t>diamati</a:t>
            </a:r>
            <a:r>
              <a:rPr lang="en-US" sz="1350" b="0" dirty="0">
                <a:solidFill>
                  <a:prstClr val="black"/>
                </a:solidFill>
                <a:latin typeface="Calibri"/>
              </a:rPr>
              <a:t>.</a:t>
            </a:r>
            <a:endParaRPr lang="id-ID" sz="1350" b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83006EC-72F2-4AB8-BD61-E9FCECF7685D}"/>
              </a:ext>
            </a:extLst>
          </p:cNvPr>
          <p:cNvGrpSpPr/>
          <p:nvPr/>
        </p:nvGrpSpPr>
        <p:grpSpPr>
          <a:xfrm>
            <a:off x="1981200" y="3367965"/>
            <a:ext cx="1498600" cy="723553"/>
            <a:chOff x="2641600" y="3347619"/>
            <a:chExt cx="1998133" cy="964737"/>
          </a:xfrm>
        </p:grpSpPr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5A6034B9-CDAB-4451-92D9-FD49280CD76F}"/>
                </a:ext>
              </a:extLst>
            </p:cNvPr>
            <p:cNvCxnSpPr>
              <a:cxnSpLocks/>
            </p:cNvCxnSpPr>
            <p:nvPr/>
          </p:nvCxnSpPr>
          <p:spPr>
            <a:xfrm>
              <a:off x="2641600" y="3347619"/>
              <a:ext cx="1998133" cy="964737"/>
            </a:xfrm>
            <a:prstGeom prst="curvedConnector3">
              <a:avLst/>
            </a:prstGeom>
            <a:ln w="762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173F4E1-9B9C-4162-BD52-9A2AF1D90A37}"/>
                </a:ext>
              </a:extLst>
            </p:cNvPr>
            <p:cNvSpPr txBox="1"/>
            <p:nvPr/>
          </p:nvSpPr>
          <p:spPr>
            <a:xfrm>
              <a:off x="2668244" y="3655787"/>
              <a:ext cx="1930752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l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prstClr val="black"/>
                  </a:solidFill>
                  <a:latin typeface="Calibri"/>
                  <a:ea typeface="+mn-ea"/>
                </a:rPr>
                <a:t>Good Judgement &amp; Action</a:t>
              </a:r>
              <a:endParaRPr lang="id-ID" sz="9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109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0" animBg="1"/>
      <p:bldP spid="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47470" y="55"/>
            <a:ext cx="7696937" cy="5078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700" cap="all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 &amp; Decision Mak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B145B1-29F3-44AD-85B0-7918E2559B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470" y="764704"/>
            <a:ext cx="7048866" cy="5935832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4779D7C-485E-4D1B-9801-A7C941BC4CEB}"/>
              </a:ext>
            </a:extLst>
          </p:cNvPr>
          <p:cNvSpPr/>
          <p:nvPr/>
        </p:nvSpPr>
        <p:spPr bwMode="auto">
          <a:xfrm>
            <a:off x="4409982" y="1735534"/>
            <a:ext cx="2376264" cy="3151628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id-ID" sz="2700"/>
          </a:p>
        </p:txBody>
      </p:sp>
    </p:spTree>
    <p:extLst>
      <p:ext uri="{BB962C8B-B14F-4D97-AF65-F5344CB8AC3E}">
        <p14:creationId xmlns:p14="http://schemas.microsoft.com/office/powerpoint/2010/main" val="33954053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13792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AU">
                <a:solidFill>
                  <a:schemeClr val="tx1"/>
                </a:solidFill>
              </a:rPr>
              <a:t>Data </a:t>
            </a:r>
            <a:r>
              <a:rPr lang="en-AU" dirty="0">
                <a:solidFill>
                  <a:schemeClr val="tx1"/>
                </a:solidFill>
              </a:rPr>
              <a:t>Mining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26" name="Picture 2" descr="Image result for &quot;data mining&quot; cartoon">
            <a:extLst>
              <a:ext uri="{FF2B5EF4-FFF2-40B4-BE49-F238E27FC236}">
                <a16:creationId xmlns:a16="http://schemas.microsoft.com/office/drawing/2014/main" id="{914ADB5F-30F1-48B7-B9E8-408360A7BDCA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554962"/>
            <a:ext cx="6048672" cy="519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42D6F9-F193-42F6-804A-CB79AB1DCA8F}"/>
              </a:ext>
            </a:extLst>
          </p:cNvPr>
          <p:cNvSpPr/>
          <p:nvPr/>
        </p:nvSpPr>
        <p:spPr>
          <a:xfrm>
            <a:off x="2613771" y="6489908"/>
            <a:ext cx="39164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1800" dirty="0">
                <a:solidFill>
                  <a:schemeClr val="tx1"/>
                </a:solidFill>
              </a:rPr>
              <a:t>http://cadeh.com/portfolio/mining/</a:t>
            </a:r>
          </a:p>
        </p:txBody>
      </p:sp>
    </p:spTree>
    <p:extLst>
      <p:ext uri="{BB962C8B-B14F-4D97-AF65-F5344CB8AC3E}">
        <p14:creationId xmlns:p14="http://schemas.microsoft.com/office/powerpoint/2010/main" val="2530550081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ChangeArrowheads="1"/>
          </p:cNvSpPr>
          <p:nvPr/>
        </p:nvSpPr>
        <p:spPr bwMode="auto">
          <a:xfrm>
            <a:off x="708481" y="2348880"/>
            <a:ext cx="8226845" cy="1850237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  <a:effectLst/>
        </p:spPr>
        <p:txBody>
          <a:bodyPr wrap="none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8800">
                <a:ln/>
                <a:latin typeface="Arial Narrow" pitchFamily="34" charset="0"/>
                <a:cs typeface="Times New Roman" pitchFamily="18" charset="0"/>
              </a:rPr>
              <a:t>Thank You</a:t>
            </a:r>
            <a:endParaRPr lang="en-US" sz="7200" dirty="0">
              <a:ln/>
              <a:latin typeface="Arial Narrow" pitchFamily="34" charset="0"/>
              <a:cs typeface="Times New Roman" pitchFamily="18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CCB5B6-018F-4FCA-B859-A2797A73A9D4}"/>
              </a:ext>
            </a:extLst>
          </p:cNvPr>
          <p:cNvGrpSpPr/>
          <p:nvPr/>
        </p:nvGrpSpPr>
        <p:grpSpPr>
          <a:xfrm>
            <a:off x="154297" y="4810426"/>
            <a:ext cx="8954207" cy="1426886"/>
            <a:chOff x="0" y="4743472"/>
            <a:chExt cx="8954207" cy="1426886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F460F97-B458-4920-B1C0-8D20B7975E65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E396584-0CD4-4EF5-AAF8-3BAEC9D21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238141B-028B-4392-809E-E13CC9FE4B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DD335A4-A4D6-4C47-A30F-7788E66E6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BD2EEAC6-080B-4B0B-9435-5A3FD88DDB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17B7D41-9BB0-4994-82B0-C76E4CDD3FC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746055" cy="7485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A4A00B-BBD7-4CED-A82F-BC7A06179A1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5236" y="-15065"/>
            <a:ext cx="697260" cy="697260"/>
          </a:xfrm>
          <a:prstGeom prst="rect">
            <a:avLst/>
          </a:prstGeom>
        </p:spPr>
      </p:pic>
      <p:pic>
        <p:nvPicPr>
          <p:cNvPr id="2" name="Picture 1" descr="A logo of a light bulb&#10;&#10;Description automatically generated">
            <a:extLst>
              <a:ext uri="{FF2B5EF4-FFF2-40B4-BE49-F238E27FC236}">
                <a16:creationId xmlns:a16="http://schemas.microsoft.com/office/drawing/2014/main" id="{A9006098-17A3-91CA-E023-B5BB3A164D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232" y="67897"/>
            <a:ext cx="531335" cy="53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18323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120"/>
            <a:ext cx="9144000" cy="492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35896" y="2708920"/>
            <a:ext cx="3877056" cy="331640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259632" y="1772816"/>
            <a:ext cx="806489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4800" cap="all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What is DATA </a:t>
            </a:r>
            <a:r>
              <a:rPr lang="en-US" sz="4800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MINING?</a:t>
            </a:r>
          </a:p>
        </p:txBody>
      </p:sp>
      <p:sp>
        <p:nvSpPr>
          <p:cNvPr id="3" name="Rectangle 2"/>
          <p:cNvSpPr/>
          <p:nvPr/>
        </p:nvSpPr>
        <p:spPr>
          <a:xfrm>
            <a:off x="3131840" y="6025326"/>
            <a:ext cx="53823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dirty="0">
                <a:solidFill>
                  <a:srgbClr val="006600"/>
                </a:solidFill>
              </a:rPr>
              <a:t>http://courses.essex.ac.uk/ce/ce802/Data%20Mining%20Cartoon.jpg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4" name="Picture 5" descr="opec-oil.jpg">
            <a:extLst>
              <a:ext uri="{FF2B5EF4-FFF2-40B4-BE49-F238E27FC236}">
                <a16:creationId xmlns:a16="http://schemas.microsoft.com/office/drawing/2014/main" id="{0D433F15-2241-48B9-B359-1B75E9B93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5" name="Picture 12" descr="quote-paper2">
            <a:extLst>
              <a:ext uri="{FF2B5EF4-FFF2-40B4-BE49-F238E27FC236}">
                <a16:creationId xmlns:a16="http://schemas.microsoft.com/office/drawing/2014/main" id="{A5F9AD93-9EF5-469A-84E4-1FF701CF0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075" y="1255390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6" name="Picture 13" descr="quote-paper2">
            <a:extLst>
              <a:ext uri="{FF2B5EF4-FFF2-40B4-BE49-F238E27FC236}">
                <a16:creationId xmlns:a16="http://schemas.microsoft.com/office/drawing/2014/main" id="{1C4959A0-321F-4C72-BAB2-0847B35B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663" y="4063702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7" name="Rectangle 3">
            <a:extLst>
              <a:ext uri="{FF2B5EF4-FFF2-40B4-BE49-F238E27FC236}">
                <a16:creationId xmlns:a16="http://schemas.microsoft.com/office/drawing/2014/main" id="{A2AFDC8D-5717-4952-99D6-39C2AAA79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88" y="1700808"/>
            <a:ext cx="770572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 Data is the new oil. Like crude oil, data is valuable, but if it is not managed properly, it cannot be utilized.</a:t>
            </a:r>
            <a:r>
              <a:rPr kumimoji="0" lang="id-ID" altLang="ja-JP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.</a:t>
            </a:r>
            <a:endParaRPr kumimoji="0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Clive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umby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unnHumby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0599" name="Rectangle 3">
            <a:extLst>
              <a:ext uri="{FF2B5EF4-FFF2-40B4-BE49-F238E27FC236}">
                <a16:creationId xmlns:a16="http://schemas.microsoft.com/office/drawing/2014/main" id="{8E3C508E-D880-40C9-8668-1D343AD4B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1" y="4240237"/>
            <a:ext cx="7524700" cy="199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</a:t>
            </a:r>
            <a:endParaRPr kumimoji="0" lang="id-ID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the first time, we have an economy based on a primary resource (information) that is not only renewable but also continuously growing.</a:t>
            </a:r>
            <a:endParaRPr kumimoji="0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ohn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Naisbit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10600" name="Picture 15" descr="bracket1_blu">
            <a:extLst>
              <a:ext uri="{FF2B5EF4-FFF2-40B4-BE49-F238E27FC236}">
                <a16:creationId xmlns:a16="http://schemas.microsoft.com/office/drawing/2014/main" id="{52C58B7D-E8FE-46AC-91C4-4624889EB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76" y="4284266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1" name="Picture 16" descr="bracket_blu2">
            <a:extLst>
              <a:ext uri="{FF2B5EF4-FFF2-40B4-BE49-F238E27FC236}">
                <a16:creationId xmlns:a16="http://schemas.microsoft.com/office/drawing/2014/main" id="{E522D7AB-6F20-437D-B1B2-FFA5394BA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4871" y="5238774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2" name="Picture 17" descr="bracket1_blu">
            <a:extLst>
              <a:ext uri="{FF2B5EF4-FFF2-40B4-BE49-F238E27FC236}">
                <a16:creationId xmlns:a16="http://schemas.microsoft.com/office/drawing/2014/main" id="{30CB5233-0836-4D68-8691-51163E235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887" y="1621768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3" name="Picture 18" descr="bracket_blu2">
            <a:extLst>
              <a:ext uri="{FF2B5EF4-FFF2-40B4-BE49-F238E27FC236}">
                <a16:creationId xmlns:a16="http://schemas.microsoft.com/office/drawing/2014/main" id="{952F5718-0F56-47F9-A418-12F955598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88326" y="2225353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A65AA28-E63D-4C41-8A28-F4A34B7A8026}"/>
              </a:ext>
            </a:extLst>
          </p:cNvPr>
          <p:cNvSpPr txBox="1"/>
          <p:nvPr/>
        </p:nvSpPr>
        <p:spPr>
          <a:xfrm>
            <a:off x="0" y="37073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 = DATA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648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CCBA7A-1C3C-42FB-8E3F-E380B0472073}"/>
              </a:ext>
            </a:extLst>
          </p:cNvPr>
          <p:cNvSpPr txBox="1"/>
          <p:nvPr/>
        </p:nvSpPr>
        <p:spPr>
          <a:xfrm>
            <a:off x="-25240" y="29686"/>
            <a:ext cx="916924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imitless Potential for Creativity &amp; Innovation in the Digital Era.</a:t>
            </a:r>
            <a:endParaRPr kumimoji="0" lang="id-ID" sz="4400" b="0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38914" name="Picture 2" descr="Related image">
            <a:extLst>
              <a:ext uri="{FF2B5EF4-FFF2-40B4-BE49-F238E27FC236}">
                <a16:creationId xmlns:a16="http://schemas.microsoft.com/office/drawing/2014/main" id="{95618363-CD88-4963-A623-5CD62E25C22B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94" y="1447317"/>
            <a:ext cx="3973513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Google logo">
            <a:extLst>
              <a:ext uri="{FF2B5EF4-FFF2-40B4-BE49-F238E27FC236}">
                <a16:creationId xmlns:a16="http://schemas.microsoft.com/office/drawing/2014/main" id="{EC8BBA6D-A856-437D-9525-8179A7A1F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268661" y="4955528"/>
            <a:ext cx="1944216" cy="684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226F20-CE03-442C-88B9-A283C72180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9546" y="4906369"/>
            <a:ext cx="1607344" cy="594066"/>
          </a:xfrm>
          <a:prstGeom prst="rect">
            <a:avLst/>
          </a:prstGeom>
        </p:spPr>
      </p:pic>
      <p:pic>
        <p:nvPicPr>
          <p:cNvPr id="9" name="Picture 8" descr="Image result for &quot;online shopping&quot; indonesia">
            <a:extLst>
              <a:ext uri="{FF2B5EF4-FFF2-40B4-BE49-F238E27FC236}">
                <a16:creationId xmlns:a16="http://schemas.microsoft.com/office/drawing/2014/main" id="{1C8D6A3D-067D-45C1-9C7B-3501FE36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9672" y="5156882"/>
            <a:ext cx="3431841" cy="156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Image result for nusantara beta logo">
            <a:extLst>
              <a:ext uri="{FF2B5EF4-FFF2-40B4-BE49-F238E27FC236}">
                <a16:creationId xmlns:a16="http://schemas.microsoft.com/office/drawing/2014/main" id="{FB5F88BC-876E-4771-B0A9-34745EEC6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8307" y="5717257"/>
            <a:ext cx="930399" cy="930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0" name="Picture 8" descr="Image result for bnb logo">
            <a:extLst>
              <a:ext uri="{FF2B5EF4-FFF2-40B4-BE49-F238E27FC236}">
                <a16:creationId xmlns:a16="http://schemas.microsoft.com/office/drawing/2014/main" id="{00EF18F6-A1CA-4ADE-B38C-0457ECC83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6674" y="5883691"/>
            <a:ext cx="968851" cy="64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2" name="Picture 10" descr="Image result for apple logo">
            <a:extLst>
              <a:ext uri="{FF2B5EF4-FFF2-40B4-BE49-F238E27FC236}">
                <a16:creationId xmlns:a16="http://schemas.microsoft.com/office/drawing/2014/main" id="{E2FD6BF0-9780-4D77-B2C8-3BE4D3C43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661" y="5883691"/>
            <a:ext cx="522266" cy="56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4" name="Picture 12" descr="Image result for android logo">
            <a:extLst>
              <a:ext uri="{FF2B5EF4-FFF2-40B4-BE49-F238E27FC236}">
                <a16:creationId xmlns:a16="http://schemas.microsoft.com/office/drawing/2014/main" id="{87A4C924-7077-4937-9B0C-15088E09C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5081" y="5928658"/>
            <a:ext cx="549212" cy="644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5C02F18-CCBD-40FD-B656-E8078877878F}"/>
              </a:ext>
            </a:extLst>
          </p:cNvPr>
          <p:cNvSpPr txBox="1">
            <a:spLocks/>
          </p:cNvSpPr>
          <p:nvPr/>
        </p:nvSpPr>
        <p:spPr>
          <a:xfrm>
            <a:off x="3929564" y="1822348"/>
            <a:ext cx="5263900" cy="3026243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Large accommodation companies do not own their own  hotels.“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Large transportation companies do not own their own fleets."</a:t>
            </a:r>
          </a:p>
        </p:txBody>
      </p:sp>
    </p:spTree>
    <p:extLst>
      <p:ext uri="{BB962C8B-B14F-4D97-AF65-F5344CB8AC3E}">
        <p14:creationId xmlns:p14="http://schemas.microsoft.com/office/powerpoint/2010/main" val="1771271350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FC4F98-7F81-4D9E-8518-D83B170FF733}"/>
              </a:ext>
            </a:extLst>
          </p:cNvPr>
          <p:cNvSpPr txBox="1"/>
          <p:nvPr/>
        </p:nvSpPr>
        <p:spPr>
          <a:xfrm>
            <a:off x="0" y="-8291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is Rapidly Growing</a:t>
            </a:r>
            <a:endParaRPr kumimoji="0" lang="en-US" sz="3200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C4C65F-D9D3-4362-AA28-99773E5EA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60" y="576484"/>
            <a:ext cx="9103956" cy="5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4855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78059-E94D-4D7A-B043-3EBFB7C86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>
                <a:solidFill>
                  <a:schemeClr val="tx1"/>
                </a:solidFill>
              </a:rPr>
              <a:t>Data Mining Definition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8AD41C-4131-47CB-A996-1D9474D3B2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628800"/>
            <a:ext cx="91440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2400"/>
              <a:t>There is no universally agreed-upon definition; however, here are some examples of existing definitions:</a:t>
            </a:r>
          </a:p>
          <a:p>
            <a:pPr marL="0" indent="0">
              <a:buNone/>
            </a:pPr>
            <a:endParaRPr lang="en-US" sz="2400"/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the search and analysis of large data sets to discover meaningful patterns and rules </a:t>
            </a:r>
            <a:r>
              <a:rPr lang="en-US" sz="2400"/>
              <a:t>(Berry &amp; Linoff, 2004: 7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a technique for analyzing large sets of data to find unexpected and useful relationships for the data owner </a:t>
            </a:r>
            <a:r>
              <a:rPr lang="en-US" sz="2400"/>
              <a:t>(Hand, 2001: 1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the process of discovering patterns and relationships within data </a:t>
            </a:r>
            <a:r>
              <a:rPr lang="en-US" sz="2400"/>
              <a:t>(Hornick, 2007: 6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an automatic or semi-automatic process for discovering new and potentially valuable information (knowledge) from a data set</a:t>
            </a:r>
            <a:r>
              <a:rPr lang="en-US" sz="2400"/>
              <a:t> (Tang &amp; Jamie, 2005: 2).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72496692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78059-E94D-4D7A-B043-3EBFB7C86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Definisi</a:t>
            </a:r>
            <a:r>
              <a:rPr lang="en-AU" dirty="0"/>
              <a:t> Data Mining?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ACA599-DDAE-41DA-8FF5-6A744A20BA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772816"/>
            <a:ext cx="9144000" cy="5472608"/>
          </a:xfrm>
        </p:spPr>
        <p:txBody>
          <a:bodyPr/>
          <a:lstStyle/>
          <a:p>
            <a:pPr marL="0" indent="0">
              <a:buNone/>
            </a:pPr>
            <a:r>
              <a:rPr lang="id-ID" sz="2600" noProof="1"/>
              <a:t>Di Module ADM-01 di berikan contoh definisi formal dari beberapa literature. Beberapa komponen pentingnya adalah:</a:t>
            </a:r>
          </a:p>
          <a:p>
            <a:r>
              <a:rPr lang="id-ID" sz="2600" noProof="1"/>
              <a:t> </a:t>
            </a:r>
            <a:r>
              <a:rPr lang="en-US" sz="2600" noProof="1"/>
              <a:t>Pencarian </a:t>
            </a:r>
            <a:r>
              <a:rPr lang="en-US" sz="2600" b="1" noProof="1">
                <a:solidFill>
                  <a:srgbClr val="060BC6"/>
                </a:solidFill>
              </a:rPr>
              <a:t>non-trivial</a:t>
            </a:r>
            <a:r>
              <a:rPr lang="en-US" sz="2600" noProof="1"/>
              <a:t> – </a:t>
            </a:r>
            <a:r>
              <a:rPr lang="en-US" sz="2600" b="1" noProof="1">
                <a:solidFill>
                  <a:srgbClr val="060BC6"/>
                </a:solidFill>
              </a:rPr>
              <a:t>Latent</a:t>
            </a:r>
            <a:r>
              <a:rPr lang="en-US" sz="2600" noProof="1"/>
              <a:t>/Hidden </a:t>
            </a:r>
            <a:r>
              <a:rPr lang="en-US" sz="2600" b="1" noProof="1">
                <a:solidFill>
                  <a:srgbClr val="060BC6"/>
                </a:solidFill>
              </a:rPr>
              <a:t>pattern</a:t>
            </a:r>
            <a:r>
              <a:rPr lang="en-US" sz="2600" noProof="1"/>
              <a:t> (pola di data).</a:t>
            </a:r>
          </a:p>
          <a:p>
            <a:r>
              <a:rPr lang="en-US" sz="2600" noProof="1"/>
              <a:t> Prosesnya </a:t>
            </a:r>
            <a:r>
              <a:rPr lang="en-US" sz="2600" b="1" noProof="1">
                <a:solidFill>
                  <a:srgbClr val="060BC6"/>
                </a:solidFill>
              </a:rPr>
              <a:t>iterative</a:t>
            </a:r>
            <a:r>
              <a:rPr lang="en-US" sz="2600" noProof="1"/>
              <a:t>.</a:t>
            </a:r>
          </a:p>
          <a:p>
            <a:r>
              <a:rPr lang="en-US" sz="2600" noProof="1"/>
              <a:t> Dengan Business Understanding (domain Knowledge) disusun </a:t>
            </a:r>
            <a:r>
              <a:rPr lang="en-US" sz="2600" b="1" noProof="1">
                <a:solidFill>
                  <a:srgbClr val="060BC6"/>
                </a:solidFill>
              </a:rPr>
              <a:t>beberapa hipotesis</a:t>
            </a:r>
            <a:r>
              <a:rPr lang="en-US" sz="2600" noProof="1"/>
              <a:t> di awal proses mining.</a:t>
            </a:r>
          </a:p>
          <a:p>
            <a:r>
              <a:rPr lang="en-US" sz="2600" noProof="1"/>
              <a:t> </a:t>
            </a:r>
            <a:r>
              <a:rPr lang="en-US" sz="2600" noProof="1">
                <a:solidFill>
                  <a:srgbClr val="060BC6"/>
                </a:solidFill>
              </a:rPr>
              <a:t>Actionable insight</a:t>
            </a:r>
            <a:r>
              <a:rPr lang="en-US" sz="2600" noProof="1"/>
              <a:t>: Interpretasi &gt; Akurasi.</a:t>
            </a:r>
          </a:p>
          <a:p>
            <a:r>
              <a:rPr lang="en-US" sz="2600" noProof="1"/>
              <a:t> Biasanya pada </a:t>
            </a:r>
            <a:r>
              <a:rPr lang="en-US" sz="2600" b="1" noProof="1">
                <a:solidFill>
                  <a:srgbClr val="060BC6"/>
                </a:solidFill>
              </a:rPr>
              <a:t>data observasi</a:t>
            </a:r>
            <a:r>
              <a:rPr lang="en-US" sz="2600" noProof="1"/>
              <a:t> (database/datawarehouse) yang relative besar.</a:t>
            </a:r>
            <a:endParaRPr lang="id-ID" sz="2600" noProof="1"/>
          </a:p>
        </p:txBody>
      </p:sp>
    </p:spTree>
    <p:extLst>
      <p:ext uri="{BB962C8B-B14F-4D97-AF65-F5344CB8AC3E}">
        <p14:creationId xmlns:p14="http://schemas.microsoft.com/office/powerpoint/2010/main" val="38213901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713990"/>
            <a:ext cx="9144000" cy="6100595"/>
            <a:chOff x="0" y="713990"/>
            <a:chExt cx="9143999" cy="6100595"/>
          </a:xfrm>
        </p:grpSpPr>
        <p:sp>
          <p:nvSpPr>
            <p:cNvPr id="3" name="TextBox 2"/>
            <p:cNvSpPr txBox="1"/>
            <p:nvPr/>
          </p:nvSpPr>
          <p:spPr>
            <a:xfrm>
              <a:off x="0" y="713990"/>
              <a:ext cx="9143999" cy="523220"/>
            </a:xfrm>
            <a:prstGeom prst="rect">
              <a:avLst/>
            </a:prstGeom>
            <a:noFill/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txBody>
            <a:bodyPr wrap="square" rtlCol="0">
              <a:spAutoFit/>
            </a:bodyPr>
            <a:lstStyle/>
            <a:p>
              <a:r>
                <a:rPr lang="en-US" sz="2800" cap="all">
                  <a:ln w="9000" cmpd="sng">
                    <a:solidFill>
                      <a:srgbClr val="060BC6"/>
                    </a:solidFill>
                    <a:prstDash val="solid"/>
                  </a:ln>
                  <a:solidFill>
                    <a:schemeClr val="accent4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Statistic </a:t>
              </a:r>
              <a:endParaRPr lang="en-US" sz="2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50" b="12086"/>
            <a:stretch/>
          </p:blipFill>
          <p:spPr>
            <a:xfrm>
              <a:off x="6444208" y="1618550"/>
              <a:ext cx="2097325" cy="1527959"/>
            </a:xfrm>
            <a:prstGeom prst="rect">
              <a:avLst/>
            </a:prstGeom>
          </p:spPr>
        </p:pic>
        <p:sp>
          <p:nvSpPr>
            <p:cNvPr id="8" name="Right Arrow 7"/>
            <p:cNvSpPr/>
            <p:nvPr/>
          </p:nvSpPr>
          <p:spPr bwMode="auto">
            <a:xfrm rot="20302780">
              <a:off x="3462815" y="2924183"/>
              <a:ext cx="2361616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5688" y="2912193"/>
              <a:ext cx="2014364" cy="18070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00" name="Picture 4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444208" y="4728372"/>
              <a:ext cx="2055844" cy="2086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ight Arrow 11"/>
            <p:cNvSpPr/>
            <p:nvPr/>
          </p:nvSpPr>
          <p:spPr bwMode="auto">
            <a:xfrm rot="2148694">
              <a:off x="3305900" y="4155335"/>
              <a:ext cx="2842175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437" y="2506158"/>
              <a:ext cx="3263451" cy="2041208"/>
            </a:xfrm>
            <a:prstGeom prst="rect">
              <a:avLst/>
            </a:prstGeom>
          </p:spPr>
        </p:pic>
        <p:sp>
          <p:nvSpPr>
            <p:cNvPr id="11" name="Right Arrow 10"/>
            <p:cNvSpPr/>
            <p:nvPr/>
          </p:nvSpPr>
          <p:spPr bwMode="auto">
            <a:xfrm>
              <a:off x="3607226" y="3369637"/>
              <a:ext cx="2361616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0601" y="5714333"/>
            <a:ext cx="625523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“Simple”, but theoretically complex</a:t>
            </a:r>
          </a:p>
          <a:p>
            <a:r>
              <a:rPr lang="en-US" sz="2800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Mengapa</a:t>
            </a:r>
            <a:r>
              <a:rPr lang="en-US" sz="28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879233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heme/theme1.xml><?xml version="1.0" encoding="utf-8"?>
<a:theme xmlns:a="http://schemas.openxmlformats.org/drawingml/2006/main" name="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08</TotalTime>
  <Words>728</Words>
  <Application>Microsoft Office PowerPoint</Application>
  <PresentationFormat>On-screen Show (4:3)</PresentationFormat>
  <Paragraphs>70</Paragraphs>
  <Slides>20</Slides>
  <Notes>10</Notes>
  <HiddenSlides>0</HiddenSlides>
  <MMClips>2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6" baseType="lpstr">
      <vt:lpstr>Calibri (Body)</vt:lpstr>
      <vt:lpstr>Arial</vt:lpstr>
      <vt:lpstr>Arial Narrow</vt:lpstr>
      <vt:lpstr>Calibri</vt:lpstr>
      <vt:lpstr>Calibri Light</vt:lpstr>
      <vt:lpstr>Century Gothic</vt:lpstr>
      <vt:lpstr>Constantia</vt:lpstr>
      <vt:lpstr>Nunito Sans</vt:lpstr>
      <vt:lpstr>Tahoma</vt:lpstr>
      <vt:lpstr>Wingdings</vt:lpstr>
      <vt:lpstr>169TGp_arrow_light_s</vt:lpstr>
      <vt:lpstr>Office Theme</vt:lpstr>
      <vt:lpstr>1_Office Theme</vt:lpstr>
      <vt:lpstr>2_Office Theme</vt:lpstr>
      <vt:lpstr>Image</vt:lpstr>
      <vt:lpstr>think-cell Slide</vt:lpstr>
      <vt:lpstr>PowerPoint Presentation</vt:lpstr>
      <vt:lpstr>Data Mining</vt:lpstr>
      <vt:lpstr>PowerPoint Presentation</vt:lpstr>
      <vt:lpstr>PowerPoint Presentation</vt:lpstr>
      <vt:lpstr>PowerPoint Presentation</vt:lpstr>
      <vt:lpstr>PowerPoint Presentation</vt:lpstr>
      <vt:lpstr>Data Mining Definition</vt:lpstr>
      <vt:lpstr>Definisi Data Mining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 Information  DIKW Pyramid</vt:lpstr>
      <vt:lpstr>Insight?</vt:lpstr>
      <vt:lpstr>PowerPoint Presentation</vt:lpstr>
      <vt:lpstr>PowerPoint Presentation</vt:lpstr>
      <vt:lpstr>PowerPoint Presentation</vt:lpstr>
    </vt:vector>
  </TitlesOfParts>
  <Company>Gui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Taufik Sutanto</dc:creator>
  <cp:lastModifiedBy>Reviewer</cp:lastModifiedBy>
  <cp:revision>560</cp:revision>
  <cp:lastPrinted>2022-09-09T06:16:05Z</cp:lastPrinted>
  <dcterms:created xsi:type="dcterms:W3CDTF">2005-06-13T01:02:31Z</dcterms:created>
  <dcterms:modified xsi:type="dcterms:W3CDTF">2024-09-11T20:37:18Z</dcterms:modified>
</cp:coreProperties>
</file>